
<file path=[Content_Types].xml><?xml version="1.0" encoding="utf-8"?>
<Types xmlns="http://schemas.openxmlformats.org/package/2006/content-types">
  <Default Extension="mp3" ContentType="audio/mpeg"/>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7"/>
  </p:notesMasterIdLst>
  <p:sldIdLst>
    <p:sldId id="498" r:id="rId2"/>
    <p:sldId id="506" r:id="rId3"/>
    <p:sldId id="256" r:id="rId4"/>
    <p:sldId id="513" r:id="rId5"/>
    <p:sldId id="257" r:id="rId6"/>
    <p:sldId id="259" r:id="rId7"/>
    <p:sldId id="279" r:id="rId8"/>
    <p:sldId id="260" r:id="rId9"/>
    <p:sldId id="277" r:id="rId10"/>
    <p:sldId id="518" r:id="rId11"/>
    <p:sldId id="507" r:id="rId12"/>
    <p:sldId id="508" r:id="rId13"/>
    <p:sldId id="509" r:id="rId14"/>
    <p:sldId id="510" r:id="rId15"/>
    <p:sldId id="511" r:id="rId16"/>
    <p:sldId id="512" r:id="rId17"/>
    <p:sldId id="514" r:id="rId18"/>
    <p:sldId id="515" r:id="rId19"/>
    <p:sldId id="262" r:id="rId20"/>
    <p:sldId id="519" r:id="rId21"/>
    <p:sldId id="520" r:id="rId22"/>
    <p:sldId id="521" r:id="rId23"/>
    <p:sldId id="522" r:id="rId24"/>
    <p:sldId id="523" r:id="rId25"/>
    <p:sldId id="524" r:id="rId26"/>
    <p:sldId id="526" r:id="rId27"/>
    <p:sldId id="527" r:id="rId28"/>
    <p:sldId id="528" r:id="rId29"/>
    <p:sldId id="529" r:id="rId30"/>
    <p:sldId id="530" r:id="rId31"/>
    <p:sldId id="531" r:id="rId32"/>
    <p:sldId id="532" r:id="rId33"/>
    <p:sldId id="533" r:id="rId34"/>
    <p:sldId id="534" r:id="rId35"/>
    <p:sldId id="535" r:id="rId36"/>
  </p:sldIdLst>
  <p:sldSz cx="12192000" cy="6858000"/>
  <p:notesSz cx="6858000" cy="9144000"/>
  <p:defaultTextStyle>
    <a:defPPr>
      <a:defRPr lang="en-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riginal" id="{59FE852B-F64F-5542-ACA4-8663857DF7D5}">
          <p14:sldIdLst>
            <p14:sldId id="498"/>
            <p14:sldId id="506"/>
            <p14:sldId id="256"/>
            <p14:sldId id="513"/>
            <p14:sldId id="257"/>
            <p14:sldId id="259"/>
            <p14:sldId id="279"/>
            <p14:sldId id="260"/>
            <p14:sldId id="277"/>
          </p14:sldIdLst>
        </p14:section>
        <p14:section name="outils param git" id="{D0527940-B84E-406C-9AFA-2A504D12E2FC}">
          <p14:sldIdLst>
            <p14:sldId id="518"/>
          </p14:sldIdLst>
        </p14:section>
        <p14:section name="Git Définition" id="{45EB4480-501E-40BA-8685-9EF850E23811}">
          <p14:sldIdLst>
            <p14:sldId id="507"/>
            <p14:sldId id="508"/>
          </p14:sldIdLst>
        </p14:section>
        <p14:section name="Gestion De Version" id="{1608804E-C645-4838-9A1D-D5BB2420EB20}">
          <p14:sldIdLst>
            <p14:sldId id="509"/>
            <p14:sldId id="510"/>
          </p14:sldIdLst>
        </p14:section>
        <p14:section name="Modèle" id="{B7D1CBD1-A983-416A-B16C-5F92281B606D}">
          <p14:sldIdLst>
            <p14:sldId id="511"/>
            <p14:sldId id="512"/>
          </p14:sldIdLst>
        </p14:section>
        <p14:section name="Github" id="{59BD680F-9E24-41B1-9329-51B6BF528A6F}">
          <p14:sldIdLst>
            <p14:sldId id="514"/>
            <p14:sldId id="515"/>
          </p14:sldIdLst>
        </p14:section>
        <p14:section name="Liste de commands" id="{350990AA-AF46-43F1-9F03-D466AF3D151A}">
          <p14:sldIdLst>
            <p14:sldId id="262"/>
            <p14:sldId id="519"/>
            <p14:sldId id="520"/>
            <p14:sldId id="521"/>
            <p14:sldId id="522"/>
            <p14:sldId id="523"/>
            <p14:sldId id="524"/>
            <p14:sldId id="526"/>
            <p14:sldId id="527"/>
            <p14:sldId id="528"/>
            <p14:sldId id="529"/>
            <p14:sldId id="530"/>
            <p14:sldId id="531"/>
          </p14:sldIdLst>
        </p14:section>
        <p14:section name="problème devops" id="{FA16BD1E-66C6-4AE6-896E-997413B73FB7}">
          <p14:sldIdLst>
            <p14:sldId id="532"/>
            <p14:sldId id="533"/>
          </p14:sldIdLst>
        </p14:section>
        <p14:section name="exemple" id="{21E535AD-817A-4087-9474-B7378C047C51}">
          <p14:sldIdLst>
            <p14:sldId id="534"/>
            <p14:sldId id="53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F466F"/>
    <a:srgbClr val="4A0616"/>
    <a:srgbClr val="073A4C"/>
    <a:srgbClr val="052531"/>
    <a:srgbClr val="08D6A2"/>
    <a:srgbClr val="069872"/>
    <a:srgbClr val="FFFFFF"/>
    <a:srgbClr val="404040"/>
    <a:srgbClr val="1589B2"/>
    <a:srgbClr val="1189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21" autoAdjust="0"/>
    <p:restoredTop sz="95064" autoAdjust="0"/>
  </p:normalViewPr>
  <p:slideViewPr>
    <p:cSldViewPr snapToGrid="0" snapToObjects="1" showGuides="1">
      <p:cViewPr varScale="1">
        <p:scale>
          <a:sx n="64" d="100"/>
          <a:sy n="64" d="100"/>
        </p:scale>
        <p:origin x="102" y="42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L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B57E57-35BA-1944-9989-03A1D9F933C2}" type="datetimeFigureOut">
              <a:t>22/10/2023</a:t>
            </a:fld>
            <a:endParaRPr lang="en-L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L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L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48A9F8-9560-9743-AE3D-EC4B3B8AF971}" type="slidenum">
              <a:t>‹N°›</a:t>
            </a:fld>
            <a:endParaRPr lang="en-LT"/>
          </a:p>
        </p:txBody>
      </p:sp>
    </p:spTree>
    <p:extLst>
      <p:ext uri="{BB962C8B-B14F-4D97-AF65-F5344CB8AC3E}">
        <p14:creationId xmlns:p14="http://schemas.microsoft.com/office/powerpoint/2010/main" val="58840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a:solidFill>
                  <a:schemeClr val="tx1"/>
                </a:solidFill>
                <a:effectLst/>
                <a:latin typeface="+mn-lt"/>
                <a:ea typeface="+mn-ea"/>
                <a:cs typeface="+mn-cs"/>
              </a:rPr>
              <a:t>Bienvenue à cette présentation sur Git et GitHub. Ces deux outils sont essentiels pour la gestion de versions et le développement collaboratif de logiciels.</a:t>
            </a:r>
            <a:endParaRPr lang="fr-FR" dirty="0"/>
          </a:p>
          <a:p>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a:t>
            </a:fld>
            <a:endParaRPr lang="fr-FR"/>
          </a:p>
        </p:txBody>
      </p:sp>
    </p:spTree>
    <p:extLst>
      <p:ext uri="{BB962C8B-B14F-4D97-AF65-F5344CB8AC3E}">
        <p14:creationId xmlns:p14="http://schemas.microsoft.com/office/powerpoint/2010/main" val="552277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Imaginez que vous possédiez un site web. A chaque fois que vous voulez modifier quelque chose sur le site ou tester une fonctionnalité, vous êtes obligé d’effectuer une sauvegarde du site avant l’implémentation afin de pouvoir le restaurer si quelque chose se passe mal.</a:t>
            </a:r>
          </a:p>
          <a:p>
            <a:r>
              <a:rPr lang="fr-FR" sz="1200" b="0" i="0" kern="1200" dirty="0">
                <a:solidFill>
                  <a:schemeClr val="tx1"/>
                </a:solidFill>
                <a:effectLst/>
                <a:latin typeface="+mn-lt"/>
                <a:ea typeface="+mn-ea"/>
                <a:cs typeface="+mn-cs"/>
              </a:rPr>
              <a:t>Jusqu’ici, le procédé est contraignant car vous allez devoir effectuer une sauvegarde complète et restaurer la sauvegarde en cas de problème mais cela ne semble pas très complexe ni insurmontable.</a:t>
            </a:r>
          </a:p>
          <a:p>
            <a:r>
              <a:rPr lang="fr-FR" sz="1200" b="0" i="0" kern="1200" dirty="0">
                <a:solidFill>
                  <a:schemeClr val="tx1"/>
                </a:solidFill>
                <a:effectLst/>
                <a:latin typeface="+mn-lt"/>
                <a:ea typeface="+mn-ea"/>
                <a:cs typeface="+mn-cs"/>
              </a:rPr>
              <a:t>Imaginez maintenant que vous soyez 10 à travailler sur le même site web, en vous occupant chacun de développer des fonctionnalités différentes mais qui peuvent être liées entre elles. L’organisation du travail est ici beaucoup plus complexe puisqu’il va falloir s’assurer :</a:t>
            </a:r>
          </a:p>
          <a:p>
            <a:r>
              <a:rPr lang="fr-FR" sz="1200" b="0" i="0" kern="1200" dirty="0">
                <a:solidFill>
                  <a:schemeClr val="tx1"/>
                </a:solidFill>
                <a:effectLst/>
                <a:latin typeface="+mn-lt"/>
                <a:ea typeface="+mn-ea"/>
                <a:cs typeface="+mn-cs"/>
              </a:rPr>
              <a:t>Que les fonctionnalités sur lesquelles travaillent un développeur ne rentrent pas en conflit avec les fonctionnalités sur lesquelles travaillent des autres développeurs ;</a:t>
            </a:r>
          </a:p>
          <a:p>
            <a:r>
              <a:rPr lang="fr-FR" sz="1200" b="0" i="0" kern="1200" dirty="0">
                <a:solidFill>
                  <a:schemeClr val="tx1"/>
                </a:solidFill>
                <a:effectLst/>
                <a:latin typeface="+mn-lt"/>
                <a:ea typeface="+mn-ea"/>
                <a:cs typeface="+mn-cs"/>
              </a:rPr>
              <a:t>Que chaque développeur sache sur quoi travaillent les autres développeurs afin de travailler correctement ;</a:t>
            </a:r>
          </a:p>
          <a:p>
            <a:r>
              <a:rPr lang="fr-FR" sz="1200" b="0" i="0" kern="1200" dirty="0">
                <a:solidFill>
                  <a:schemeClr val="tx1"/>
                </a:solidFill>
                <a:effectLst/>
                <a:latin typeface="+mn-lt"/>
                <a:ea typeface="+mn-ea"/>
                <a:cs typeface="+mn-cs"/>
              </a:rPr>
              <a:t>que chaque développeur possède une version actualisée du site pour tester et implémenter ses fonctionnalités.</a:t>
            </a:r>
          </a:p>
          <a:p>
            <a:r>
              <a:rPr lang="fr-FR" sz="1200" b="0" i="0" kern="1200" dirty="0">
                <a:solidFill>
                  <a:schemeClr val="tx1"/>
                </a:solidFill>
                <a:effectLst/>
                <a:latin typeface="+mn-lt"/>
                <a:ea typeface="+mn-ea"/>
                <a:cs typeface="+mn-cs"/>
              </a:rPr>
              <a:t>Ici, l’idée la plus logique serait de mettre en place un serveur distant qui contiendrait l’historique des modifications faites par chaque développeur afin que chacun ait accès aux avancées des autres. Chaque développeur pourrait également copier l’intégralité du contenu du serveur pour travailler en local sur sa machine. On vient ainsi de créer un système de gestion de version décentralisé rudimentaire.</a:t>
            </a:r>
          </a:p>
          <a:p>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1</a:t>
            </a:fld>
            <a:endParaRPr lang="fr-FR"/>
          </a:p>
        </p:txBody>
      </p:sp>
    </p:spTree>
    <p:extLst>
      <p:ext uri="{BB962C8B-B14F-4D97-AF65-F5344CB8AC3E}">
        <p14:creationId xmlns:p14="http://schemas.microsoft.com/office/powerpoint/2010/main" val="3603201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Imaginez que vous possédiez un site web. A chaque fois que vous voulez modifier quelque chose sur le site ou tester une fonctionnalité, vous êtes obligé d’effectuer une sauvegarde du site avant l’implémentation afin de pouvoir le restaurer si quelque chose se passe mal.</a:t>
            </a:r>
          </a:p>
          <a:p>
            <a:r>
              <a:rPr lang="fr-FR" sz="1200" b="0" i="0" kern="1200" dirty="0">
                <a:solidFill>
                  <a:schemeClr val="tx1"/>
                </a:solidFill>
                <a:effectLst/>
                <a:latin typeface="+mn-lt"/>
                <a:ea typeface="+mn-ea"/>
                <a:cs typeface="+mn-cs"/>
              </a:rPr>
              <a:t>Jusqu’ici, le procédé est contraignant car vous allez devoir effectuer une sauvegarde complète et restaurer la sauvegarde en cas de problème mais cela ne semble pas très complexe ni insurmontable.</a:t>
            </a:r>
          </a:p>
          <a:p>
            <a:r>
              <a:rPr lang="fr-FR" sz="1200" b="0" i="0" kern="1200" dirty="0">
                <a:solidFill>
                  <a:schemeClr val="tx1"/>
                </a:solidFill>
                <a:effectLst/>
                <a:latin typeface="+mn-lt"/>
                <a:ea typeface="+mn-ea"/>
                <a:cs typeface="+mn-cs"/>
              </a:rPr>
              <a:t>Imaginez maintenant que vous soyez 10 à travailler sur le même site web, en vous occupant chacun de développer des fonctionnalités différentes mais qui peuvent être liées entre elles. L’organisation du travail est ici beaucoup plus complexe puisqu’il va falloir s’assurer :</a:t>
            </a:r>
          </a:p>
          <a:p>
            <a:r>
              <a:rPr lang="fr-FR" sz="1200" b="0" i="0" kern="1200" dirty="0">
                <a:solidFill>
                  <a:schemeClr val="tx1"/>
                </a:solidFill>
                <a:effectLst/>
                <a:latin typeface="+mn-lt"/>
                <a:ea typeface="+mn-ea"/>
                <a:cs typeface="+mn-cs"/>
              </a:rPr>
              <a:t>Que les fonctionnalités sur lesquelles travaillent un développeur ne rentrent pas en conflit avec les fonctionnalités sur lesquelles travaillent des autres développeurs ;</a:t>
            </a:r>
          </a:p>
          <a:p>
            <a:r>
              <a:rPr lang="fr-FR" sz="1200" b="0" i="0" kern="1200" dirty="0">
                <a:solidFill>
                  <a:schemeClr val="tx1"/>
                </a:solidFill>
                <a:effectLst/>
                <a:latin typeface="+mn-lt"/>
                <a:ea typeface="+mn-ea"/>
                <a:cs typeface="+mn-cs"/>
              </a:rPr>
              <a:t>Que chaque développeur sache sur quoi travaillent les autres développeurs afin de travailler correctement ;</a:t>
            </a:r>
          </a:p>
          <a:p>
            <a:r>
              <a:rPr lang="fr-FR" sz="1200" b="0" i="0" kern="1200" dirty="0">
                <a:solidFill>
                  <a:schemeClr val="tx1"/>
                </a:solidFill>
                <a:effectLst/>
                <a:latin typeface="+mn-lt"/>
                <a:ea typeface="+mn-ea"/>
                <a:cs typeface="+mn-cs"/>
              </a:rPr>
              <a:t>que chaque développeur possède une version actualisée du site pour tester et implémenter ses fonctionnalités.</a:t>
            </a:r>
          </a:p>
          <a:p>
            <a:r>
              <a:rPr lang="fr-FR" sz="1200" b="0" i="0" kern="1200" dirty="0">
                <a:solidFill>
                  <a:schemeClr val="tx1"/>
                </a:solidFill>
                <a:effectLst/>
                <a:latin typeface="+mn-lt"/>
                <a:ea typeface="+mn-ea"/>
                <a:cs typeface="+mn-cs"/>
              </a:rPr>
              <a:t>Ici, l’idée la plus logique serait de mettre en place un serveur distant qui contiendrait l’historique des modifications faites par chaque développeur afin que chacun ait accès aux avancées des autres. Chaque développeur pourrait également copier l’intégralité du contenu du serveur pour travailler en local sur sa machine. On vient ainsi de créer un système de gestion de version décentralisé rudimentaire.</a:t>
            </a:r>
          </a:p>
          <a:p>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4</a:t>
            </a:fld>
            <a:endParaRPr lang="fr-FR"/>
          </a:p>
        </p:txBody>
      </p:sp>
    </p:spTree>
    <p:extLst>
      <p:ext uri="{BB962C8B-B14F-4D97-AF65-F5344CB8AC3E}">
        <p14:creationId xmlns:p14="http://schemas.microsoft.com/office/powerpoint/2010/main" val="1077232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l existe deux types de logiciels de gestion de version : le modèle centralisé et le modèle distribué.</a:t>
            </a:r>
          </a:p>
          <a:p>
            <a:r>
              <a:rPr lang="fr-FR" dirty="0"/>
              <a:t>Le modèle centralisé stocke le code source d'un projet sur un serveur distant, et les utilisateurs doivent s'y connecter pour travailler sur ce code.</a:t>
            </a:r>
          </a:p>
          <a:p>
            <a:r>
              <a:rPr lang="fr-FR" dirty="0"/>
              <a:t>Le modèle distribué, comme Git, permet à chaque utilisateur de télécharger et stocker l'intégralité du code source sur sa propre machine. Cela offre plusieurs avantages :</a:t>
            </a:r>
          </a:p>
          <a:p>
            <a:r>
              <a:rPr lang="fr-FR" dirty="0"/>
              <a:t>Simplicité et flexibilité : Les utilisateurs peuvent travailler sur leur propre machine sans être constamment connectés à un serveur central.</a:t>
            </a:r>
          </a:p>
          <a:p>
            <a:r>
              <a:rPr lang="fr-FR" dirty="0"/>
              <a:t>Sécurité : Chaque utilisateur possède une copie complète du projet, ce qui permet d'utiliser la copie d'un autre utilisateur comme sauvegarde en cas de problème avec le serveur central.</a:t>
            </a:r>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6</a:t>
            </a:fld>
            <a:endParaRPr lang="fr-FR"/>
          </a:p>
        </p:txBody>
      </p:sp>
    </p:spTree>
    <p:extLst>
      <p:ext uri="{BB962C8B-B14F-4D97-AF65-F5344CB8AC3E}">
        <p14:creationId xmlns:p14="http://schemas.microsoft.com/office/powerpoint/2010/main" val="38328368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en plus de GitHub, il existe d'autres entreprises et services similaires tels que </a:t>
            </a:r>
            <a:r>
              <a:rPr lang="fr-FR" sz="1200" b="0" i="0" kern="1200" dirty="0" err="1">
                <a:solidFill>
                  <a:schemeClr val="tx1"/>
                </a:solidFill>
                <a:effectLst/>
                <a:latin typeface="+mn-lt"/>
                <a:ea typeface="+mn-ea"/>
                <a:cs typeface="+mn-cs"/>
              </a:rPr>
              <a:t>GitLab</a:t>
            </a:r>
            <a:r>
              <a:rPr lang="fr-FR" sz="1200" b="0" i="0" kern="1200" dirty="0">
                <a:solidFill>
                  <a:schemeClr val="tx1"/>
                </a:solidFill>
                <a:effectLst/>
                <a:latin typeface="+mn-lt"/>
                <a:ea typeface="+mn-ea"/>
                <a:cs typeface="+mn-cs"/>
              </a:rPr>
              <a:t> et </a:t>
            </a:r>
            <a:r>
              <a:rPr lang="fr-FR" sz="1200" b="0" i="0" kern="1200" dirty="0" err="1">
                <a:solidFill>
                  <a:schemeClr val="tx1"/>
                </a:solidFill>
                <a:effectLst/>
                <a:latin typeface="+mn-lt"/>
                <a:ea typeface="+mn-ea"/>
                <a:cs typeface="+mn-cs"/>
              </a:rPr>
              <a:t>GitBucket</a:t>
            </a:r>
            <a:r>
              <a:rPr lang="fr-FR" sz="1200" b="0" i="0" kern="1200" dirty="0">
                <a:solidFill>
                  <a:schemeClr val="tx1"/>
                </a:solidFill>
                <a:effectLst/>
                <a:latin typeface="+mn-lt"/>
                <a:ea typeface="+mn-ea"/>
                <a:cs typeface="+mn-cs"/>
              </a:rPr>
              <a:t> qui offrent également des fonctionnalités de gestion de version et d'hébergement de dépôts Git. </a:t>
            </a:r>
            <a:r>
              <a:rPr lang="fr-FR" sz="1200" b="0" i="0" kern="1200" dirty="0" err="1">
                <a:solidFill>
                  <a:schemeClr val="tx1"/>
                </a:solidFill>
                <a:effectLst/>
                <a:latin typeface="+mn-lt"/>
                <a:ea typeface="+mn-ea"/>
                <a:cs typeface="+mn-cs"/>
              </a:rPr>
              <a:t>GitLab</a:t>
            </a:r>
            <a:r>
              <a:rPr lang="fr-FR" sz="1200" b="0" i="0" kern="1200" dirty="0">
                <a:solidFill>
                  <a:schemeClr val="tx1"/>
                </a:solidFill>
                <a:effectLst/>
                <a:latin typeface="+mn-lt"/>
                <a:ea typeface="+mn-ea"/>
                <a:cs typeface="+mn-cs"/>
              </a:rPr>
              <a:t>, par exemple, est un concurrent populaire de GitHub qui propose des outils de gestion de projet plus avancés en plus de la gestion de version. </a:t>
            </a:r>
            <a:r>
              <a:rPr lang="fr-FR" sz="1200" b="0" i="0" kern="1200" dirty="0" err="1">
                <a:solidFill>
                  <a:schemeClr val="tx1"/>
                </a:solidFill>
                <a:effectLst/>
                <a:latin typeface="+mn-lt"/>
                <a:ea typeface="+mn-ea"/>
                <a:cs typeface="+mn-cs"/>
              </a:rPr>
              <a:t>GitBucket</a:t>
            </a:r>
            <a:r>
              <a:rPr lang="fr-FR" sz="1200" b="0" i="0" kern="1200" dirty="0">
                <a:solidFill>
                  <a:schemeClr val="tx1"/>
                </a:solidFill>
                <a:effectLst/>
                <a:latin typeface="+mn-lt"/>
                <a:ea typeface="+mn-ea"/>
                <a:cs typeface="+mn-cs"/>
              </a:rPr>
              <a:t> est une autre option qui offre une solution d'hébergement de dépôts Git. Ces services offrent des options différentes pour stocker, gérer et collaborer sur des projets utilisant Git.</a:t>
            </a:r>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7</a:t>
            </a:fld>
            <a:endParaRPr lang="fr-FR"/>
          </a:p>
        </p:txBody>
      </p:sp>
    </p:spTree>
    <p:extLst>
      <p:ext uri="{BB962C8B-B14F-4D97-AF65-F5344CB8AC3E}">
        <p14:creationId xmlns:p14="http://schemas.microsoft.com/office/powerpoint/2010/main" val="38072161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en plus de GitHub, il existe d'autres entreprises et services similaires tels que </a:t>
            </a:r>
            <a:r>
              <a:rPr lang="fr-FR" sz="1200" b="0" i="0" kern="1200" dirty="0" err="1">
                <a:solidFill>
                  <a:schemeClr val="tx1"/>
                </a:solidFill>
                <a:effectLst/>
                <a:latin typeface="+mn-lt"/>
                <a:ea typeface="+mn-ea"/>
                <a:cs typeface="+mn-cs"/>
              </a:rPr>
              <a:t>GitLab</a:t>
            </a:r>
            <a:r>
              <a:rPr lang="fr-FR" sz="1200" b="0" i="0" kern="1200" dirty="0">
                <a:solidFill>
                  <a:schemeClr val="tx1"/>
                </a:solidFill>
                <a:effectLst/>
                <a:latin typeface="+mn-lt"/>
                <a:ea typeface="+mn-ea"/>
                <a:cs typeface="+mn-cs"/>
              </a:rPr>
              <a:t> et </a:t>
            </a:r>
            <a:r>
              <a:rPr lang="fr-FR" sz="1200" b="0" i="0" kern="1200" dirty="0" err="1">
                <a:solidFill>
                  <a:schemeClr val="tx1"/>
                </a:solidFill>
                <a:effectLst/>
                <a:latin typeface="+mn-lt"/>
                <a:ea typeface="+mn-ea"/>
                <a:cs typeface="+mn-cs"/>
              </a:rPr>
              <a:t>GitBucket</a:t>
            </a:r>
            <a:r>
              <a:rPr lang="fr-FR" sz="1200" b="0" i="0" kern="1200" dirty="0">
                <a:solidFill>
                  <a:schemeClr val="tx1"/>
                </a:solidFill>
                <a:effectLst/>
                <a:latin typeface="+mn-lt"/>
                <a:ea typeface="+mn-ea"/>
                <a:cs typeface="+mn-cs"/>
              </a:rPr>
              <a:t> qui offrent également des fonctionnalités de gestion de version et d'hébergement de dépôts Git. </a:t>
            </a:r>
            <a:r>
              <a:rPr lang="fr-FR" sz="1200" b="0" i="0" kern="1200" dirty="0" err="1">
                <a:solidFill>
                  <a:schemeClr val="tx1"/>
                </a:solidFill>
                <a:effectLst/>
                <a:latin typeface="+mn-lt"/>
                <a:ea typeface="+mn-ea"/>
                <a:cs typeface="+mn-cs"/>
              </a:rPr>
              <a:t>GitLab</a:t>
            </a:r>
            <a:r>
              <a:rPr lang="fr-FR" sz="1200" b="0" i="0" kern="1200" dirty="0">
                <a:solidFill>
                  <a:schemeClr val="tx1"/>
                </a:solidFill>
                <a:effectLst/>
                <a:latin typeface="+mn-lt"/>
                <a:ea typeface="+mn-ea"/>
                <a:cs typeface="+mn-cs"/>
              </a:rPr>
              <a:t>, par exemple, est un concurrent populaire de </a:t>
            </a:r>
            <a:r>
              <a:rPr lang="fr-FR" sz="1200" b="0" i="0" kern="1200" dirty="0" err="1">
                <a:solidFill>
                  <a:schemeClr val="tx1"/>
                </a:solidFill>
                <a:effectLst/>
                <a:latin typeface="+mn-lt"/>
                <a:ea typeface="+mn-ea"/>
                <a:cs typeface="+mn-cs"/>
              </a:rPr>
              <a:t>BitHub</a:t>
            </a:r>
            <a:r>
              <a:rPr lang="fr-FR" sz="1200" b="0" i="0" kern="1200" dirty="0">
                <a:solidFill>
                  <a:schemeClr val="tx1"/>
                </a:solidFill>
                <a:effectLst/>
                <a:latin typeface="+mn-lt"/>
                <a:ea typeface="+mn-ea"/>
                <a:cs typeface="+mn-cs"/>
              </a:rPr>
              <a:t> qui propose des outils de gestion de projet plus avancés en plus de la gestion de version. </a:t>
            </a:r>
            <a:r>
              <a:rPr lang="fr-FR" sz="1200" b="0" i="0" kern="1200" dirty="0" err="1">
                <a:solidFill>
                  <a:schemeClr val="tx1"/>
                </a:solidFill>
                <a:effectLst/>
                <a:latin typeface="+mn-lt"/>
                <a:ea typeface="+mn-ea"/>
                <a:cs typeface="+mn-cs"/>
              </a:rPr>
              <a:t>GitBucket</a:t>
            </a:r>
            <a:r>
              <a:rPr lang="fr-FR" sz="1200" b="0" i="0" kern="1200" dirty="0">
                <a:solidFill>
                  <a:schemeClr val="tx1"/>
                </a:solidFill>
                <a:effectLst/>
                <a:latin typeface="+mn-lt"/>
                <a:ea typeface="+mn-ea"/>
                <a:cs typeface="+mn-cs"/>
              </a:rPr>
              <a:t> est une autre option qui offre une solution d'hébergement de dépôts Git. Ces services offrent des options différentes pour stocker, gérer et collaborer sur des projets utilisant Git.</a:t>
            </a:r>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8</a:t>
            </a:fld>
            <a:endParaRPr lang="fr-FR"/>
          </a:p>
        </p:txBody>
      </p:sp>
    </p:spTree>
    <p:extLst>
      <p:ext uri="{BB962C8B-B14F-4D97-AF65-F5344CB8AC3E}">
        <p14:creationId xmlns:p14="http://schemas.microsoft.com/office/powerpoint/2010/main" val="19814066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en plus de GitHub, il existe d'autres entreprises et services similaires tels que </a:t>
            </a:r>
            <a:r>
              <a:rPr lang="fr-FR" sz="1200" b="0" i="0" kern="1200" dirty="0" err="1">
                <a:solidFill>
                  <a:schemeClr val="tx1"/>
                </a:solidFill>
                <a:effectLst/>
                <a:latin typeface="+mn-lt"/>
                <a:ea typeface="+mn-ea"/>
                <a:cs typeface="+mn-cs"/>
              </a:rPr>
              <a:t>GitLab</a:t>
            </a:r>
            <a:r>
              <a:rPr lang="fr-FR" sz="1200" b="0" i="0" kern="1200" dirty="0">
                <a:solidFill>
                  <a:schemeClr val="tx1"/>
                </a:solidFill>
                <a:effectLst/>
                <a:latin typeface="+mn-lt"/>
                <a:ea typeface="+mn-ea"/>
                <a:cs typeface="+mn-cs"/>
              </a:rPr>
              <a:t> et </a:t>
            </a:r>
            <a:r>
              <a:rPr lang="fr-FR" sz="1200" b="0" i="0" kern="1200" dirty="0" err="1">
                <a:solidFill>
                  <a:schemeClr val="tx1"/>
                </a:solidFill>
                <a:effectLst/>
                <a:latin typeface="+mn-lt"/>
                <a:ea typeface="+mn-ea"/>
                <a:cs typeface="+mn-cs"/>
              </a:rPr>
              <a:t>GitBucket</a:t>
            </a:r>
            <a:r>
              <a:rPr lang="fr-FR" sz="1200" b="0" i="0" kern="1200" dirty="0">
                <a:solidFill>
                  <a:schemeClr val="tx1"/>
                </a:solidFill>
                <a:effectLst/>
                <a:latin typeface="+mn-lt"/>
                <a:ea typeface="+mn-ea"/>
                <a:cs typeface="+mn-cs"/>
              </a:rPr>
              <a:t> qui offrent également des fonctionnalités de gestion de version et d'hébergement de dépôts Git. </a:t>
            </a:r>
            <a:r>
              <a:rPr lang="fr-FR" sz="1200" b="0" i="0" kern="1200" dirty="0" err="1">
                <a:solidFill>
                  <a:schemeClr val="tx1"/>
                </a:solidFill>
                <a:effectLst/>
                <a:latin typeface="+mn-lt"/>
                <a:ea typeface="+mn-ea"/>
                <a:cs typeface="+mn-cs"/>
              </a:rPr>
              <a:t>GitLab</a:t>
            </a:r>
            <a:r>
              <a:rPr lang="fr-FR" sz="1200" b="0" i="0" kern="1200" dirty="0">
                <a:solidFill>
                  <a:schemeClr val="tx1"/>
                </a:solidFill>
                <a:effectLst/>
                <a:latin typeface="+mn-lt"/>
                <a:ea typeface="+mn-ea"/>
                <a:cs typeface="+mn-cs"/>
              </a:rPr>
              <a:t>, par exemple, est un concurrent populaire de GitHub qui propose des outils de gestion de projet plus avancés en plus de la gestion de version. </a:t>
            </a:r>
            <a:r>
              <a:rPr lang="fr-FR" sz="1200" b="0" i="0" kern="1200" dirty="0" err="1">
                <a:solidFill>
                  <a:schemeClr val="tx1"/>
                </a:solidFill>
                <a:effectLst/>
                <a:latin typeface="+mn-lt"/>
                <a:ea typeface="+mn-ea"/>
                <a:cs typeface="+mn-cs"/>
              </a:rPr>
              <a:t>GitBucket</a:t>
            </a:r>
            <a:r>
              <a:rPr lang="fr-FR" sz="1200" b="0" i="0" kern="1200" dirty="0">
                <a:solidFill>
                  <a:schemeClr val="tx1"/>
                </a:solidFill>
                <a:effectLst/>
                <a:latin typeface="+mn-lt"/>
                <a:ea typeface="+mn-ea"/>
                <a:cs typeface="+mn-cs"/>
              </a:rPr>
              <a:t> est une autre option qui offre une solution d'hébergement de dépôts Git. Ces services offrent des options différentes pour stocker, gérer et collaborer sur des projets utilisant Git.</a:t>
            </a:r>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32</a:t>
            </a:fld>
            <a:endParaRPr lang="fr-FR"/>
          </a:p>
        </p:txBody>
      </p:sp>
    </p:spTree>
    <p:extLst>
      <p:ext uri="{BB962C8B-B14F-4D97-AF65-F5344CB8AC3E}">
        <p14:creationId xmlns:p14="http://schemas.microsoft.com/office/powerpoint/2010/main" val="734278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1" i="0" kern="1200" dirty="0">
                <a:solidFill>
                  <a:schemeClr val="tx1"/>
                </a:solidFill>
                <a:effectLst/>
                <a:latin typeface="+mn-lt"/>
                <a:ea typeface="+mn-ea"/>
                <a:cs typeface="+mn-cs"/>
              </a:rPr>
              <a:t>Processus manuel :</a:t>
            </a:r>
            <a:r>
              <a:rPr lang="fr-FR" sz="1200" b="0" i="0" kern="1200" dirty="0">
                <a:solidFill>
                  <a:schemeClr val="tx1"/>
                </a:solidFill>
                <a:effectLst/>
                <a:latin typeface="+mn-lt"/>
                <a:ea typeface="+mn-ea"/>
                <a:cs typeface="+mn-cs"/>
              </a:rPr>
              <a:t> Dans cette approche, la création, les tests et le déploiement des versions sont principalement effectués manuellement. Les développeurs et les équipes de gestion des versions déterminent quand et comment publier une nouvelle version.</a:t>
            </a:r>
          </a:p>
          <a:p>
            <a:r>
              <a:rPr lang="fr-FR" sz="1200" b="1" i="0" kern="1200" dirty="0">
                <a:solidFill>
                  <a:schemeClr val="tx1"/>
                </a:solidFill>
                <a:effectLst/>
                <a:latin typeface="+mn-lt"/>
                <a:ea typeface="+mn-ea"/>
                <a:cs typeface="+mn-cs"/>
              </a:rPr>
              <a:t>Processus automatisé :</a:t>
            </a:r>
            <a:r>
              <a:rPr lang="fr-FR" sz="1200" b="0" i="0" kern="1200" dirty="0">
                <a:solidFill>
                  <a:schemeClr val="tx1"/>
                </a:solidFill>
                <a:effectLst/>
                <a:latin typeface="+mn-lt"/>
                <a:ea typeface="+mn-ea"/>
                <a:cs typeface="+mn-cs"/>
              </a:rPr>
              <a:t> Dans un environnement CI/CD, les versions sont créées, testées et déployées automatiquement à chaque modification du code source. Les tests automatisés garantissent la qualité.  !!!!!!!! Git push kimchi l serveur nichan</a:t>
            </a:r>
          </a:p>
          <a:p>
            <a:r>
              <a:rPr lang="fr-FR" sz="1200" b="1" i="0" kern="1200" dirty="0">
                <a:solidFill>
                  <a:schemeClr val="tx1"/>
                </a:solidFill>
                <a:effectLst/>
                <a:latin typeface="+mn-lt"/>
                <a:ea typeface="+mn-ea"/>
                <a:cs typeface="+mn-cs"/>
              </a:rPr>
              <a:t>Complexité et risque :</a:t>
            </a:r>
            <a:r>
              <a:rPr lang="fr-FR" sz="1200" b="0" i="0" kern="1200" dirty="0">
                <a:solidFill>
                  <a:schemeClr val="tx1"/>
                </a:solidFill>
                <a:effectLst/>
                <a:latin typeface="+mn-lt"/>
                <a:ea typeface="+mn-ea"/>
                <a:cs typeface="+mn-cs"/>
              </a:rPr>
              <a:t> La gestion manuelle des versions peut être complexe, sujette aux erreurs humaines et peut entraîner des retards dans le déploiement. Elle nécessite une coordination minutieuse entre les équipes.</a:t>
            </a:r>
          </a:p>
          <a:p>
            <a:r>
              <a:rPr lang="fr-FR" sz="1200" b="1" i="0" kern="1200" dirty="0">
                <a:solidFill>
                  <a:schemeClr val="tx1"/>
                </a:solidFill>
                <a:effectLst/>
                <a:latin typeface="+mn-lt"/>
                <a:ea typeface="+mn-ea"/>
                <a:cs typeface="+mn-cs"/>
              </a:rPr>
              <a:t>Automatisation :</a:t>
            </a:r>
            <a:r>
              <a:rPr lang="fr-FR" sz="1200" b="0" i="0" kern="1200" dirty="0">
                <a:solidFill>
                  <a:schemeClr val="tx1"/>
                </a:solidFill>
                <a:effectLst/>
                <a:latin typeface="+mn-lt"/>
                <a:ea typeface="+mn-ea"/>
                <a:cs typeface="+mn-cs"/>
              </a:rPr>
              <a:t> L'automatisation réduit les erreurs humaines et accélère le processus de déploiement. Les versions sont publiées fréquemment, ce qui permet une meilleure détection des problèmes.</a:t>
            </a:r>
          </a:p>
          <a:p>
            <a:r>
              <a:rPr lang="fr-FR" sz="1200" b="1" i="0" kern="1200" dirty="0">
                <a:solidFill>
                  <a:schemeClr val="tx1"/>
                </a:solidFill>
                <a:effectLst/>
                <a:latin typeface="+mn-lt"/>
                <a:ea typeface="+mn-ea"/>
                <a:cs typeface="+mn-cs"/>
              </a:rPr>
              <a:t>Fréquence manuel :</a:t>
            </a:r>
            <a:r>
              <a:rPr lang="fr-FR" sz="1200" b="0" i="0" kern="1200" dirty="0">
                <a:solidFill>
                  <a:schemeClr val="tx1"/>
                </a:solidFill>
                <a:effectLst/>
                <a:latin typeface="+mn-lt"/>
                <a:ea typeface="+mn-ea"/>
                <a:cs typeface="+mn-cs"/>
              </a:rPr>
              <a:t> Les nouvelles versions ne sont publiées que lorsque l'équipe est prête, ce qui peut entraîner des versions moins fréquentes, des retards et une plus grande difficulté à identifier et corriger les problèmes.</a:t>
            </a:r>
          </a:p>
          <a:p>
            <a:r>
              <a:rPr lang="fr-FR" sz="1200" b="1" i="0" kern="1200" dirty="0">
                <a:solidFill>
                  <a:schemeClr val="tx1"/>
                </a:solidFill>
                <a:effectLst/>
                <a:latin typeface="+mn-lt"/>
                <a:ea typeface="+mn-ea"/>
                <a:cs typeface="+mn-cs"/>
              </a:rPr>
              <a:t>Fréquence ci/ci :</a:t>
            </a:r>
            <a:r>
              <a:rPr lang="fr-FR" sz="1200" b="0" i="0" kern="1200" dirty="0">
                <a:solidFill>
                  <a:schemeClr val="tx1"/>
                </a:solidFill>
                <a:effectLst/>
                <a:latin typeface="+mn-lt"/>
                <a:ea typeface="+mn-ea"/>
                <a:cs typeface="+mn-cs"/>
              </a:rPr>
              <a:t> Les nouvelles versions ne sont publiées que lorsque l'équipe est prête, ce qui peut entraîner des versions moins fréquentes, des retards et une plus grande difficulté à identifier et corriger les problèmes.</a:t>
            </a:r>
          </a:p>
          <a:p>
            <a:r>
              <a:rPr lang="fr-FR" sz="1200" b="1" i="0" kern="1200" dirty="0">
                <a:solidFill>
                  <a:schemeClr val="tx1"/>
                </a:solidFill>
                <a:effectLst/>
                <a:latin typeface="+mn-lt"/>
                <a:ea typeface="+mn-ea"/>
                <a:cs typeface="+mn-cs"/>
              </a:rPr>
              <a:t>Documentation manuel :</a:t>
            </a:r>
            <a:r>
              <a:rPr lang="fr-FR" sz="1200" b="0" i="0" kern="1200" dirty="0">
                <a:solidFill>
                  <a:schemeClr val="tx1"/>
                </a:solidFill>
                <a:effectLst/>
                <a:latin typeface="+mn-lt"/>
                <a:ea typeface="+mn-ea"/>
                <a:cs typeface="+mn-cs"/>
              </a:rPr>
              <a:t> La documentation des versions est généralement créée manuellement, ce qui peut entraîner des erreurs ou un manque d'informations.</a:t>
            </a:r>
          </a:p>
          <a:p>
            <a:r>
              <a:rPr lang="fr-FR" sz="1200" b="1" i="0" kern="1200" dirty="0">
                <a:solidFill>
                  <a:schemeClr val="tx1"/>
                </a:solidFill>
                <a:effectLst/>
                <a:latin typeface="+mn-lt"/>
                <a:ea typeface="+mn-ea"/>
                <a:cs typeface="+mn-cs"/>
              </a:rPr>
              <a:t>Documentation  ci/cd:</a:t>
            </a:r>
            <a:r>
              <a:rPr lang="fr-FR" sz="1200" b="0" i="0" kern="1200" dirty="0">
                <a:solidFill>
                  <a:schemeClr val="tx1"/>
                </a:solidFill>
                <a:effectLst/>
                <a:latin typeface="+mn-lt"/>
                <a:ea typeface="+mn-ea"/>
                <a:cs typeface="+mn-cs"/>
              </a:rPr>
              <a:t> La documentation peut également être générée automatiquement pour chaque version, ce qui assure une traçabilité complète.</a:t>
            </a:r>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33</a:t>
            </a:fld>
            <a:endParaRPr lang="fr-FR"/>
          </a:p>
        </p:txBody>
      </p:sp>
    </p:spTree>
    <p:extLst>
      <p:ext uri="{BB962C8B-B14F-4D97-AF65-F5344CB8AC3E}">
        <p14:creationId xmlns:p14="http://schemas.microsoft.com/office/powerpoint/2010/main" val="35097550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en plus de GitHub, il existe d'autres entreprises et services similaires tels que </a:t>
            </a:r>
            <a:r>
              <a:rPr lang="fr-FR" sz="1200" b="0" i="0" kern="1200" dirty="0" err="1">
                <a:solidFill>
                  <a:schemeClr val="tx1"/>
                </a:solidFill>
                <a:effectLst/>
                <a:latin typeface="+mn-lt"/>
                <a:ea typeface="+mn-ea"/>
                <a:cs typeface="+mn-cs"/>
              </a:rPr>
              <a:t>GitLab</a:t>
            </a:r>
            <a:r>
              <a:rPr lang="fr-FR" sz="1200" b="0" i="0" kern="1200" dirty="0">
                <a:solidFill>
                  <a:schemeClr val="tx1"/>
                </a:solidFill>
                <a:effectLst/>
                <a:latin typeface="+mn-lt"/>
                <a:ea typeface="+mn-ea"/>
                <a:cs typeface="+mn-cs"/>
              </a:rPr>
              <a:t> et </a:t>
            </a:r>
            <a:r>
              <a:rPr lang="fr-FR" sz="1200" b="0" i="0" kern="1200" dirty="0" err="1">
                <a:solidFill>
                  <a:schemeClr val="tx1"/>
                </a:solidFill>
                <a:effectLst/>
                <a:latin typeface="+mn-lt"/>
                <a:ea typeface="+mn-ea"/>
                <a:cs typeface="+mn-cs"/>
              </a:rPr>
              <a:t>GitBucket</a:t>
            </a:r>
            <a:r>
              <a:rPr lang="fr-FR" sz="1200" b="0" i="0" kern="1200" dirty="0">
                <a:solidFill>
                  <a:schemeClr val="tx1"/>
                </a:solidFill>
                <a:effectLst/>
                <a:latin typeface="+mn-lt"/>
                <a:ea typeface="+mn-ea"/>
                <a:cs typeface="+mn-cs"/>
              </a:rPr>
              <a:t> qui offrent également des fonctionnalités de gestion de version et d'hébergement de dépôts Git. </a:t>
            </a:r>
            <a:r>
              <a:rPr lang="fr-FR" sz="1200" b="0" i="0" kern="1200" dirty="0" err="1">
                <a:solidFill>
                  <a:schemeClr val="tx1"/>
                </a:solidFill>
                <a:effectLst/>
                <a:latin typeface="+mn-lt"/>
                <a:ea typeface="+mn-ea"/>
                <a:cs typeface="+mn-cs"/>
              </a:rPr>
              <a:t>GitLab</a:t>
            </a:r>
            <a:r>
              <a:rPr lang="fr-FR" sz="1200" b="0" i="0" kern="1200" dirty="0">
                <a:solidFill>
                  <a:schemeClr val="tx1"/>
                </a:solidFill>
                <a:effectLst/>
                <a:latin typeface="+mn-lt"/>
                <a:ea typeface="+mn-ea"/>
                <a:cs typeface="+mn-cs"/>
              </a:rPr>
              <a:t>, par exemple, est un concurrent populaire de GitHub qui propose des outils de gestion de projet plus avancés en plus de la gestion de version. </a:t>
            </a:r>
            <a:r>
              <a:rPr lang="fr-FR" sz="1200" b="0" i="0" kern="1200" dirty="0" err="1">
                <a:solidFill>
                  <a:schemeClr val="tx1"/>
                </a:solidFill>
                <a:effectLst/>
                <a:latin typeface="+mn-lt"/>
                <a:ea typeface="+mn-ea"/>
                <a:cs typeface="+mn-cs"/>
              </a:rPr>
              <a:t>GitBucket</a:t>
            </a:r>
            <a:r>
              <a:rPr lang="fr-FR" sz="1200" b="0" i="0" kern="1200" dirty="0">
                <a:solidFill>
                  <a:schemeClr val="tx1"/>
                </a:solidFill>
                <a:effectLst/>
                <a:latin typeface="+mn-lt"/>
                <a:ea typeface="+mn-ea"/>
                <a:cs typeface="+mn-cs"/>
              </a:rPr>
              <a:t> est une autre option qui offre une solution d'hébergement de dépôts Git. Ces services offrent des options différentes pour stocker, gérer et collaborer sur des projets utilisant Git.</a:t>
            </a:r>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34</a:t>
            </a:fld>
            <a:endParaRPr lang="fr-FR"/>
          </a:p>
        </p:txBody>
      </p:sp>
    </p:spTree>
    <p:extLst>
      <p:ext uri="{BB962C8B-B14F-4D97-AF65-F5344CB8AC3E}">
        <p14:creationId xmlns:p14="http://schemas.microsoft.com/office/powerpoint/2010/main" val="978153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Bienvenue à cette présentation sur Git et GitHub. Ces deux outils sont essentiels pour la gestion de versions et le développement collaboratif de logiciels.</a:t>
            </a:r>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2</a:t>
            </a:fld>
            <a:endParaRPr lang="fr-FR"/>
          </a:p>
        </p:txBody>
      </p:sp>
    </p:spTree>
    <p:extLst>
      <p:ext uri="{BB962C8B-B14F-4D97-AF65-F5344CB8AC3E}">
        <p14:creationId xmlns:p14="http://schemas.microsoft.com/office/powerpoint/2010/main" val="2977165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3</a:t>
            </a:fld>
            <a:endParaRPr lang="en-LT"/>
          </a:p>
        </p:txBody>
      </p:sp>
    </p:spTree>
    <p:extLst>
      <p:ext uri="{BB962C8B-B14F-4D97-AF65-F5344CB8AC3E}">
        <p14:creationId xmlns:p14="http://schemas.microsoft.com/office/powerpoint/2010/main" val="1548950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0" kern="1200" dirty="0">
                <a:solidFill>
                  <a:schemeClr val="tx1"/>
                </a:solidFill>
                <a:effectLst/>
                <a:latin typeface="+mn-lt"/>
                <a:ea typeface="+mn-ea"/>
                <a:cs typeface="+mn-cs"/>
              </a:rPr>
              <a:t>Gestion du Code Source</a:t>
            </a:r>
            <a:r>
              <a:rPr lang="fr-FR" sz="1200" b="0" i="0" kern="1200" dirty="0">
                <a:solidFill>
                  <a:schemeClr val="tx1"/>
                </a:solidFill>
                <a:effectLst/>
                <a:latin typeface="+mn-lt"/>
                <a:ea typeface="+mn-ea"/>
                <a:cs typeface="+mn-cs"/>
              </a:rPr>
              <a:t> :</a:t>
            </a:r>
          </a:p>
          <a:p>
            <a:r>
              <a:rPr lang="fr-FR" sz="1200" b="0" i="0" kern="1200" dirty="0">
                <a:solidFill>
                  <a:schemeClr val="tx1"/>
                </a:solidFill>
                <a:effectLst/>
                <a:latin typeface="+mn-lt"/>
                <a:ea typeface="+mn-ea"/>
                <a:cs typeface="+mn-cs"/>
              </a:rPr>
              <a:t>Le code source de votre projet est dispersé sur plusieurs ordinateurs, ce qui rend difficile la collaboration et la gestion des modifications.</a:t>
            </a:r>
          </a:p>
          <a:p>
            <a:r>
              <a:rPr lang="fr-FR" sz="1200" b="1" i="0" kern="1200" dirty="0">
                <a:solidFill>
                  <a:schemeClr val="tx1"/>
                </a:solidFill>
                <a:effectLst/>
                <a:latin typeface="+mn-lt"/>
                <a:ea typeface="+mn-ea"/>
                <a:cs typeface="+mn-cs"/>
              </a:rPr>
              <a:t>Historique des Modifications</a:t>
            </a:r>
            <a:r>
              <a:rPr lang="fr-FR" sz="1200" b="0" i="0" kern="1200" dirty="0">
                <a:solidFill>
                  <a:schemeClr val="tx1"/>
                </a:solidFill>
                <a:effectLst/>
                <a:latin typeface="+mn-lt"/>
                <a:ea typeface="+mn-ea"/>
                <a:cs typeface="+mn-cs"/>
              </a:rPr>
              <a:t> :</a:t>
            </a:r>
          </a:p>
          <a:p>
            <a:r>
              <a:rPr lang="fr-FR" sz="1200" b="0" i="0" kern="1200" dirty="0">
                <a:solidFill>
                  <a:schemeClr val="tx1"/>
                </a:solidFill>
                <a:effectLst/>
                <a:latin typeface="+mn-lt"/>
                <a:ea typeface="+mn-ea"/>
                <a:cs typeface="+mn-cs"/>
              </a:rPr>
              <a:t>Vous avez du mal à suivre qui a modifié quoi et quand, ce qui rend difficile le débogage des problèmes.</a:t>
            </a:r>
          </a:p>
          <a:p>
            <a:r>
              <a:rPr lang="fr-FR" sz="1200" b="1" i="0" kern="1200" dirty="0">
                <a:solidFill>
                  <a:schemeClr val="tx1"/>
                </a:solidFill>
                <a:effectLst/>
                <a:latin typeface="+mn-lt"/>
                <a:ea typeface="+mn-ea"/>
                <a:cs typeface="+mn-cs"/>
              </a:rPr>
              <a:t>Collaboration d'Équipe</a:t>
            </a:r>
            <a:r>
              <a:rPr lang="fr-FR" sz="1200" b="0" i="0" kern="1200" dirty="0">
                <a:solidFill>
                  <a:schemeClr val="tx1"/>
                </a:solidFill>
                <a:effectLst/>
                <a:latin typeface="+mn-lt"/>
                <a:ea typeface="+mn-ea"/>
                <a:cs typeface="+mn-cs"/>
              </a:rPr>
              <a:t> :</a:t>
            </a:r>
          </a:p>
          <a:p>
            <a:r>
              <a:rPr lang="fr-FR" sz="1200" b="0" i="0" kern="1200" dirty="0">
                <a:solidFill>
                  <a:schemeClr val="tx1"/>
                </a:solidFill>
                <a:effectLst/>
                <a:latin typeface="+mn-lt"/>
                <a:ea typeface="+mn-ea"/>
                <a:cs typeface="+mn-cs"/>
              </a:rPr>
              <a:t>Les membres de l'équipe ont du mal à travailler sur le même code en même temps sans écraser les modifications des autres.</a:t>
            </a:r>
          </a:p>
          <a:p>
            <a:r>
              <a:rPr lang="fr-FR" sz="1200" b="1" i="0" kern="1200" dirty="0">
                <a:solidFill>
                  <a:schemeClr val="tx1"/>
                </a:solidFill>
                <a:effectLst/>
                <a:latin typeface="+mn-lt"/>
                <a:ea typeface="+mn-ea"/>
                <a:cs typeface="+mn-cs"/>
              </a:rPr>
              <a:t>Sauvegarde et Restauration</a:t>
            </a:r>
            <a:r>
              <a:rPr lang="fr-FR" sz="1200" b="0" i="0" kern="1200" dirty="0">
                <a:solidFill>
                  <a:schemeClr val="tx1"/>
                </a:solidFill>
                <a:effectLst/>
                <a:latin typeface="+mn-lt"/>
                <a:ea typeface="+mn-ea"/>
                <a:cs typeface="+mn-cs"/>
              </a:rPr>
              <a:t> :</a:t>
            </a:r>
          </a:p>
          <a:p>
            <a:r>
              <a:rPr lang="fr-FR" sz="1200" b="0" i="0" kern="1200" dirty="0">
                <a:solidFill>
                  <a:schemeClr val="tx1"/>
                </a:solidFill>
                <a:effectLst/>
                <a:latin typeface="+mn-lt"/>
                <a:ea typeface="+mn-ea"/>
                <a:cs typeface="+mn-cs"/>
              </a:rPr>
              <a:t>Vous craignez de perdre des données critiques en cas de défaillance matérielle ou de suppression accidentelle de fichiers.</a:t>
            </a:r>
          </a:p>
          <a:p>
            <a:r>
              <a:rPr lang="fr-FR" sz="1200" b="1" i="0" kern="1200" dirty="0">
                <a:solidFill>
                  <a:schemeClr val="tx1"/>
                </a:solidFill>
                <a:effectLst/>
                <a:latin typeface="+mn-lt"/>
                <a:ea typeface="+mn-ea"/>
                <a:cs typeface="+mn-cs"/>
              </a:rPr>
              <a:t>Distribution du Code</a:t>
            </a:r>
            <a:r>
              <a:rPr lang="fr-FR" sz="1200" b="0" i="0" kern="1200" dirty="0">
                <a:solidFill>
                  <a:schemeClr val="tx1"/>
                </a:solidFill>
                <a:effectLst/>
                <a:latin typeface="+mn-lt"/>
                <a:ea typeface="+mn-ea"/>
                <a:cs typeface="+mn-cs"/>
              </a:rPr>
              <a:t> :</a:t>
            </a:r>
          </a:p>
          <a:p>
            <a:r>
              <a:rPr lang="fr-FR" sz="1200" b="0" i="0" kern="1200" dirty="0">
                <a:solidFill>
                  <a:schemeClr val="tx1"/>
                </a:solidFill>
                <a:effectLst/>
                <a:latin typeface="+mn-lt"/>
                <a:ea typeface="+mn-ea"/>
                <a:cs typeface="+mn-cs"/>
              </a:rPr>
              <a:t>Vous devez partager votre code avec d'autres équipes, partenaires ou collaborateurs externes.</a:t>
            </a:r>
          </a:p>
          <a:p>
            <a:r>
              <a:rPr lang="fr-FR" sz="1200" b="1" i="0" kern="1200" dirty="0">
                <a:solidFill>
                  <a:schemeClr val="tx1"/>
                </a:solidFill>
                <a:effectLst/>
                <a:latin typeface="+mn-lt"/>
                <a:ea typeface="+mn-ea"/>
                <a:cs typeface="+mn-cs"/>
              </a:rPr>
              <a:t>Sécurité et Intégrité du Code :</a:t>
            </a:r>
          </a:p>
          <a:p>
            <a:r>
              <a:rPr lang="fr-FR" sz="1200" b="0" i="0" kern="1200" dirty="0">
                <a:solidFill>
                  <a:schemeClr val="tx1"/>
                </a:solidFill>
                <a:effectLst/>
                <a:latin typeface="+mn-lt"/>
                <a:ea typeface="+mn-ea"/>
                <a:cs typeface="+mn-cs"/>
              </a:rPr>
              <a:t>Vous voulez garantir l'intégrité du code source et suivre les modifications apportées par différents utilisateurs.</a:t>
            </a:r>
          </a:p>
          <a:p>
            <a:r>
              <a:rPr lang="fr-FR" sz="1200" b="1" i="0" kern="1200" dirty="0">
                <a:solidFill>
                  <a:schemeClr val="tx1"/>
                </a:solidFill>
                <a:effectLst/>
                <a:latin typeface="+mn-lt"/>
                <a:ea typeface="+mn-ea"/>
                <a:cs typeface="+mn-cs"/>
              </a:rPr>
              <a:t>Gestion des Versions</a:t>
            </a:r>
            <a:r>
              <a:rPr lang="fr-FR" sz="1200" b="0" i="0" kern="1200" dirty="0">
                <a:solidFill>
                  <a:schemeClr val="tx1"/>
                </a:solidFill>
                <a:effectLst/>
                <a:latin typeface="+mn-lt"/>
                <a:ea typeface="+mn-ea"/>
                <a:cs typeface="+mn-cs"/>
              </a:rPr>
              <a:t> :</a:t>
            </a:r>
          </a:p>
          <a:p>
            <a:r>
              <a:rPr lang="fr-FR" sz="1200" b="0" i="0" kern="1200" dirty="0">
                <a:solidFill>
                  <a:schemeClr val="tx1"/>
                </a:solidFill>
                <a:effectLst/>
                <a:latin typeface="+mn-lt"/>
                <a:ea typeface="+mn-ea"/>
                <a:cs typeface="+mn-cs"/>
              </a:rPr>
              <a:t>Vous souhaitez gérer différentes versions de votre logiciel ou de votre projet.</a:t>
            </a:r>
          </a:p>
          <a:p>
            <a:r>
              <a:rPr lang="fr-FR" sz="2800" b="1" dirty="0"/>
              <a:t>SVN</a:t>
            </a:r>
            <a:br>
              <a:rPr lang="fr-FR" dirty="0"/>
            </a:br>
            <a:r>
              <a:rPr lang="fr-FR" sz="1200" b="0" i="0" kern="1200" dirty="0">
                <a:solidFill>
                  <a:schemeClr val="tx1"/>
                </a:solidFill>
                <a:effectLst/>
                <a:latin typeface="+mn-lt"/>
                <a:ea typeface="+mn-ea"/>
                <a:cs typeface="+mn-cs"/>
              </a:rPr>
              <a:t>Avant Git, les gens utilisaient principalement SVN pour gérer leurs fichiers. Cependant, SVN avait un gros problème. Tout reposait sur un seul serveur central, et si ce serveur tombait en panne, tout s'arrêtait. Cela rendait la collaboration difficile et provoquait des retards importants.</a:t>
            </a:r>
          </a:p>
          <a:p>
            <a:br>
              <a:rPr lang="fr-FR" sz="1200" b="0" i="0" kern="1200" dirty="0">
                <a:solidFill>
                  <a:schemeClr val="tx1"/>
                </a:solidFill>
                <a:effectLst/>
                <a:latin typeface="+mn-lt"/>
                <a:ea typeface="+mn-ea"/>
                <a:cs typeface="+mn-cs"/>
              </a:rPr>
            </a:br>
            <a:endParaRPr lang="en-LT" dirty="0"/>
          </a:p>
        </p:txBody>
      </p:sp>
      <p:sp>
        <p:nvSpPr>
          <p:cNvPr id="4" name="Slide Number Placeholder 3"/>
          <p:cNvSpPr>
            <a:spLocks noGrp="1"/>
          </p:cNvSpPr>
          <p:nvPr>
            <p:ph type="sldNum" sz="quarter" idx="5"/>
          </p:nvPr>
        </p:nvSpPr>
        <p:spPr/>
        <p:txBody>
          <a:bodyPr/>
          <a:lstStyle/>
          <a:p>
            <a:fld id="{0748A9F8-9560-9743-AE3D-EC4B3B8AF971}" type="slidenum">
              <a:t>4</a:t>
            </a:fld>
            <a:endParaRPr lang="en-LT"/>
          </a:p>
        </p:txBody>
      </p:sp>
    </p:spTree>
    <p:extLst>
      <p:ext uri="{BB962C8B-B14F-4D97-AF65-F5344CB8AC3E}">
        <p14:creationId xmlns:p14="http://schemas.microsoft.com/office/powerpoint/2010/main" val="3128617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5</a:t>
            </a:fld>
            <a:endParaRPr lang="en-LT"/>
          </a:p>
        </p:txBody>
      </p:sp>
    </p:spTree>
    <p:extLst>
      <p:ext uri="{BB962C8B-B14F-4D97-AF65-F5344CB8AC3E}">
        <p14:creationId xmlns:p14="http://schemas.microsoft.com/office/powerpoint/2010/main" val="3306117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6</a:t>
            </a:fld>
            <a:endParaRPr lang="en-LT"/>
          </a:p>
        </p:txBody>
      </p:sp>
    </p:spTree>
    <p:extLst>
      <p:ext uri="{BB962C8B-B14F-4D97-AF65-F5344CB8AC3E}">
        <p14:creationId xmlns:p14="http://schemas.microsoft.com/office/powerpoint/2010/main" val="123850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8</a:t>
            </a:fld>
            <a:endParaRPr lang="en-LT"/>
          </a:p>
        </p:txBody>
      </p:sp>
    </p:spTree>
    <p:extLst>
      <p:ext uri="{BB962C8B-B14F-4D97-AF65-F5344CB8AC3E}">
        <p14:creationId xmlns:p14="http://schemas.microsoft.com/office/powerpoint/2010/main" val="831830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n conclusion, Git est un système de contrôle de version puissant qui favorise la gestion efficace du code source, tandis que GitHub est une plateforme d'hébergement Git offrant des fonctionnalités de collaboration avancées. Ensemble, ils sont des piliers essentiels de la philosophie DevOps, qui vise à accélérer la livraison de logiciels de haute qualité en automatisant les processus. L'utilisation de Git et GitHub permet la mise en place de pipelines CI/CD, favorisant ainsi une collaboration transparente, une réduction des erreurs, et une livraison plus rapide de logiciels. Cette combinaison offre de nombreux avantages aux équipes de développement et d'exploitation, tout en ouvrant la voie à des pratiques DevOps plus avancées,</a:t>
            </a:r>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9</a:t>
            </a:fld>
            <a:endParaRPr lang="fr-FR"/>
          </a:p>
        </p:txBody>
      </p:sp>
    </p:spTree>
    <p:extLst>
      <p:ext uri="{BB962C8B-B14F-4D97-AF65-F5344CB8AC3E}">
        <p14:creationId xmlns:p14="http://schemas.microsoft.com/office/powerpoint/2010/main" val="41169829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1" i="0" kern="1200" dirty="0" err="1">
                <a:solidFill>
                  <a:schemeClr val="tx1"/>
                </a:solidFill>
                <a:effectLst/>
                <a:latin typeface="+mn-lt"/>
                <a:ea typeface="+mn-ea"/>
                <a:cs typeface="+mn-cs"/>
              </a:rPr>
              <a:t>GitKraken</a:t>
            </a:r>
            <a:r>
              <a:rPr lang="fr-FR" sz="1200" b="0" i="0" kern="1200" dirty="0">
                <a:solidFill>
                  <a:schemeClr val="tx1"/>
                </a:solidFill>
                <a:effectLst/>
                <a:latin typeface="+mn-lt"/>
                <a:ea typeface="+mn-ea"/>
                <a:cs typeface="+mn-cs"/>
              </a:rPr>
              <a:t> : </a:t>
            </a:r>
            <a:r>
              <a:rPr lang="fr-FR" sz="1200" b="0" i="0" kern="1200" dirty="0" err="1">
                <a:solidFill>
                  <a:schemeClr val="tx1"/>
                </a:solidFill>
                <a:effectLst/>
                <a:latin typeface="+mn-lt"/>
                <a:ea typeface="+mn-ea"/>
                <a:cs typeface="+mn-cs"/>
              </a:rPr>
              <a:t>GitKraken</a:t>
            </a:r>
            <a:r>
              <a:rPr lang="fr-FR" sz="1200" b="0" i="0" kern="1200" dirty="0">
                <a:solidFill>
                  <a:schemeClr val="tx1"/>
                </a:solidFill>
                <a:effectLst/>
                <a:latin typeface="+mn-lt"/>
                <a:ea typeface="+mn-ea"/>
                <a:cs typeface="+mn-cs"/>
              </a:rPr>
              <a:t> est un client Git avancé qui intègre de manière transparente avec GitHub. Il offre une interface utilisateur graphique conviviale pour les opérations Git, y compris la gestion des répertoires GitHub.</a:t>
            </a:r>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0</a:t>
            </a:fld>
            <a:endParaRPr lang="fr-FR"/>
          </a:p>
        </p:txBody>
      </p:sp>
    </p:spTree>
    <p:extLst>
      <p:ext uri="{BB962C8B-B14F-4D97-AF65-F5344CB8AC3E}">
        <p14:creationId xmlns:p14="http://schemas.microsoft.com/office/powerpoint/2010/main" val="38468472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10F28-15AE-D548-A364-55A4F83117D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LT"/>
          </a:p>
        </p:txBody>
      </p:sp>
      <p:sp>
        <p:nvSpPr>
          <p:cNvPr id="3" name="Subtitle 2">
            <a:extLst>
              <a:ext uri="{FF2B5EF4-FFF2-40B4-BE49-F238E27FC236}">
                <a16:creationId xmlns:a16="http://schemas.microsoft.com/office/drawing/2014/main" id="{44F632D6-4B9E-CF4E-B2F1-966E197832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LT"/>
          </a:p>
        </p:txBody>
      </p:sp>
      <p:sp>
        <p:nvSpPr>
          <p:cNvPr id="4" name="Date Placeholder 3">
            <a:extLst>
              <a:ext uri="{FF2B5EF4-FFF2-40B4-BE49-F238E27FC236}">
                <a16:creationId xmlns:a16="http://schemas.microsoft.com/office/drawing/2014/main" id="{D1A195C5-A01A-0043-B22A-07B9752B9804}"/>
              </a:ext>
            </a:extLst>
          </p:cNvPr>
          <p:cNvSpPr>
            <a:spLocks noGrp="1"/>
          </p:cNvSpPr>
          <p:nvPr>
            <p:ph type="dt" sz="half" idx="10"/>
          </p:nvPr>
        </p:nvSpPr>
        <p:spPr/>
        <p:txBody>
          <a:bodyPr/>
          <a:lstStyle/>
          <a:p>
            <a:fld id="{BF6AB98E-06ED-244E-981C-8D5EDD09A1DD}" type="datetimeFigureOut">
              <a:t>22/10/2023</a:t>
            </a:fld>
            <a:endParaRPr lang="en-LT"/>
          </a:p>
        </p:txBody>
      </p:sp>
      <p:sp>
        <p:nvSpPr>
          <p:cNvPr id="5" name="Footer Placeholder 4">
            <a:extLst>
              <a:ext uri="{FF2B5EF4-FFF2-40B4-BE49-F238E27FC236}">
                <a16:creationId xmlns:a16="http://schemas.microsoft.com/office/drawing/2014/main" id="{D3A8D614-C70B-114C-BC72-83400061D8F2}"/>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97EFF32F-E02F-9346-9A94-F2D9B201A683}"/>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13072440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CCA21-EEA7-E746-AD6C-7174190B357E}"/>
              </a:ext>
            </a:extLst>
          </p:cNvPr>
          <p:cNvSpPr>
            <a:spLocks noGrp="1"/>
          </p:cNvSpPr>
          <p:nvPr>
            <p:ph type="title"/>
          </p:nvPr>
        </p:nvSpPr>
        <p:spPr/>
        <p:txBody>
          <a:bodyPr/>
          <a:lstStyle/>
          <a:p>
            <a:r>
              <a:rPr lang="en-GB"/>
              <a:t>Click to edit Master title style</a:t>
            </a:r>
            <a:endParaRPr lang="en-LT"/>
          </a:p>
        </p:txBody>
      </p:sp>
      <p:sp>
        <p:nvSpPr>
          <p:cNvPr id="3" name="Vertical Text Placeholder 2">
            <a:extLst>
              <a:ext uri="{FF2B5EF4-FFF2-40B4-BE49-F238E27FC236}">
                <a16:creationId xmlns:a16="http://schemas.microsoft.com/office/drawing/2014/main" id="{6728DD3A-571C-6946-B241-96479149AAE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0C11CB3A-C405-7049-A877-3BAD3AAFCF37}"/>
              </a:ext>
            </a:extLst>
          </p:cNvPr>
          <p:cNvSpPr>
            <a:spLocks noGrp="1"/>
          </p:cNvSpPr>
          <p:nvPr>
            <p:ph type="dt" sz="half" idx="10"/>
          </p:nvPr>
        </p:nvSpPr>
        <p:spPr/>
        <p:txBody>
          <a:bodyPr/>
          <a:lstStyle/>
          <a:p>
            <a:fld id="{BF6AB98E-06ED-244E-981C-8D5EDD09A1DD}" type="datetimeFigureOut">
              <a:t>22/10/2023</a:t>
            </a:fld>
            <a:endParaRPr lang="en-LT"/>
          </a:p>
        </p:txBody>
      </p:sp>
      <p:sp>
        <p:nvSpPr>
          <p:cNvPr id="5" name="Footer Placeholder 4">
            <a:extLst>
              <a:ext uri="{FF2B5EF4-FFF2-40B4-BE49-F238E27FC236}">
                <a16:creationId xmlns:a16="http://schemas.microsoft.com/office/drawing/2014/main" id="{3987860E-7664-A24A-92A6-B89822032C2A}"/>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EC78F18B-7CFE-FA4C-B370-5CBF39DC27B4}"/>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9337956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768BF3-D403-AA4D-8307-1AD9089DD24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LT"/>
          </a:p>
        </p:txBody>
      </p:sp>
      <p:sp>
        <p:nvSpPr>
          <p:cNvPr id="3" name="Vertical Text Placeholder 2">
            <a:extLst>
              <a:ext uri="{FF2B5EF4-FFF2-40B4-BE49-F238E27FC236}">
                <a16:creationId xmlns:a16="http://schemas.microsoft.com/office/drawing/2014/main" id="{A88AFDD1-C709-FC4A-A04E-681FC363A1C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4501A29A-7EBF-1640-901D-4BD39E48DDF7}"/>
              </a:ext>
            </a:extLst>
          </p:cNvPr>
          <p:cNvSpPr>
            <a:spLocks noGrp="1"/>
          </p:cNvSpPr>
          <p:nvPr>
            <p:ph type="dt" sz="half" idx="10"/>
          </p:nvPr>
        </p:nvSpPr>
        <p:spPr/>
        <p:txBody>
          <a:bodyPr/>
          <a:lstStyle/>
          <a:p>
            <a:fld id="{BF6AB98E-06ED-244E-981C-8D5EDD09A1DD}" type="datetimeFigureOut">
              <a:t>22/10/2023</a:t>
            </a:fld>
            <a:endParaRPr lang="en-LT"/>
          </a:p>
        </p:txBody>
      </p:sp>
      <p:sp>
        <p:nvSpPr>
          <p:cNvPr id="5" name="Footer Placeholder 4">
            <a:extLst>
              <a:ext uri="{FF2B5EF4-FFF2-40B4-BE49-F238E27FC236}">
                <a16:creationId xmlns:a16="http://schemas.microsoft.com/office/drawing/2014/main" id="{66CC7955-4B7C-6942-8197-B5FBD006FAAE}"/>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7F9ED8B8-0753-BB4B-92EB-BAC0AD6DDB3B}"/>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9968497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8B604-70AB-BB4D-A7E3-5B899F001964}"/>
              </a:ext>
            </a:extLst>
          </p:cNvPr>
          <p:cNvSpPr>
            <a:spLocks noGrp="1"/>
          </p:cNvSpPr>
          <p:nvPr>
            <p:ph type="title"/>
          </p:nvPr>
        </p:nvSpPr>
        <p:spPr/>
        <p:txBody>
          <a:bodyPr/>
          <a:lstStyle/>
          <a:p>
            <a:r>
              <a:rPr lang="en-GB"/>
              <a:t>Click to edit Master title style</a:t>
            </a:r>
            <a:endParaRPr lang="en-LT"/>
          </a:p>
        </p:txBody>
      </p:sp>
      <p:sp>
        <p:nvSpPr>
          <p:cNvPr id="3" name="Content Placeholder 2">
            <a:extLst>
              <a:ext uri="{FF2B5EF4-FFF2-40B4-BE49-F238E27FC236}">
                <a16:creationId xmlns:a16="http://schemas.microsoft.com/office/drawing/2014/main" id="{BEF3DC9C-0C6E-F943-A253-3A70BED0B40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31D60614-AA81-9E49-82C3-FE971B86B18B}"/>
              </a:ext>
            </a:extLst>
          </p:cNvPr>
          <p:cNvSpPr>
            <a:spLocks noGrp="1"/>
          </p:cNvSpPr>
          <p:nvPr>
            <p:ph type="dt" sz="half" idx="10"/>
          </p:nvPr>
        </p:nvSpPr>
        <p:spPr/>
        <p:txBody>
          <a:bodyPr/>
          <a:lstStyle/>
          <a:p>
            <a:fld id="{BF6AB98E-06ED-244E-981C-8D5EDD09A1DD}" type="datetimeFigureOut">
              <a:t>22/10/2023</a:t>
            </a:fld>
            <a:endParaRPr lang="en-LT"/>
          </a:p>
        </p:txBody>
      </p:sp>
      <p:sp>
        <p:nvSpPr>
          <p:cNvPr id="5" name="Footer Placeholder 4">
            <a:extLst>
              <a:ext uri="{FF2B5EF4-FFF2-40B4-BE49-F238E27FC236}">
                <a16:creationId xmlns:a16="http://schemas.microsoft.com/office/drawing/2014/main" id="{37923032-A82F-CD4F-A91D-55756F852D27}"/>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2FF5DD38-8AF1-D548-89E6-A31E90732E66}"/>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784054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7150F-1759-E744-AE43-A0D335CCC45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LT"/>
          </a:p>
        </p:txBody>
      </p:sp>
      <p:sp>
        <p:nvSpPr>
          <p:cNvPr id="3" name="Text Placeholder 2">
            <a:extLst>
              <a:ext uri="{FF2B5EF4-FFF2-40B4-BE49-F238E27FC236}">
                <a16:creationId xmlns:a16="http://schemas.microsoft.com/office/drawing/2014/main" id="{08DC07FA-F50C-CE49-926D-CAE1C38D92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E797CA0-FBD2-C846-97AB-78B5AC1610E9}"/>
              </a:ext>
            </a:extLst>
          </p:cNvPr>
          <p:cNvSpPr>
            <a:spLocks noGrp="1"/>
          </p:cNvSpPr>
          <p:nvPr>
            <p:ph type="dt" sz="half" idx="10"/>
          </p:nvPr>
        </p:nvSpPr>
        <p:spPr/>
        <p:txBody>
          <a:bodyPr/>
          <a:lstStyle/>
          <a:p>
            <a:fld id="{BF6AB98E-06ED-244E-981C-8D5EDD09A1DD}" type="datetimeFigureOut">
              <a:t>22/10/2023</a:t>
            </a:fld>
            <a:endParaRPr lang="en-LT"/>
          </a:p>
        </p:txBody>
      </p:sp>
      <p:sp>
        <p:nvSpPr>
          <p:cNvPr id="5" name="Footer Placeholder 4">
            <a:extLst>
              <a:ext uri="{FF2B5EF4-FFF2-40B4-BE49-F238E27FC236}">
                <a16:creationId xmlns:a16="http://schemas.microsoft.com/office/drawing/2014/main" id="{65ECC4AE-11D2-4649-A108-B09E0B4FEE19}"/>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F5347B62-2F93-1A41-BD07-481ACD8EBC65}"/>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1120579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85496-2043-6646-9E83-10C12E54CB1E}"/>
              </a:ext>
            </a:extLst>
          </p:cNvPr>
          <p:cNvSpPr>
            <a:spLocks noGrp="1"/>
          </p:cNvSpPr>
          <p:nvPr>
            <p:ph type="title"/>
          </p:nvPr>
        </p:nvSpPr>
        <p:spPr/>
        <p:txBody>
          <a:bodyPr/>
          <a:lstStyle/>
          <a:p>
            <a:r>
              <a:rPr lang="en-GB"/>
              <a:t>Click to edit Master title style</a:t>
            </a:r>
            <a:endParaRPr lang="en-LT"/>
          </a:p>
        </p:txBody>
      </p:sp>
      <p:sp>
        <p:nvSpPr>
          <p:cNvPr id="3" name="Content Placeholder 2">
            <a:extLst>
              <a:ext uri="{FF2B5EF4-FFF2-40B4-BE49-F238E27FC236}">
                <a16:creationId xmlns:a16="http://schemas.microsoft.com/office/drawing/2014/main" id="{6F79BF5D-4BA9-A24D-94D6-4CE1DFEFD58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Content Placeholder 3">
            <a:extLst>
              <a:ext uri="{FF2B5EF4-FFF2-40B4-BE49-F238E27FC236}">
                <a16:creationId xmlns:a16="http://schemas.microsoft.com/office/drawing/2014/main" id="{9551BC49-4921-F84A-AEFF-DB3AC81742F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5" name="Date Placeholder 4">
            <a:extLst>
              <a:ext uri="{FF2B5EF4-FFF2-40B4-BE49-F238E27FC236}">
                <a16:creationId xmlns:a16="http://schemas.microsoft.com/office/drawing/2014/main" id="{EC5873E8-EA7F-4D4B-887B-284CBFCED8F4}"/>
              </a:ext>
            </a:extLst>
          </p:cNvPr>
          <p:cNvSpPr>
            <a:spLocks noGrp="1"/>
          </p:cNvSpPr>
          <p:nvPr>
            <p:ph type="dt" sz="half" idx="10"/>
          </p:nvPr>
        </p:nvSpPr>
        <p:spPr/>
        <p:txBody>
          <a:bodyPr/>
          <a:lstStyle/>
          <a:p>
            <a:fld id="{BF6AB98E-06ED-244E-981C-8D5EDD09A1DD}" type="datetimeFigureOut">
              <a:t>22/10/2023</a:t>
            </a:fld>
            <a:endParaRPr lang="en-LT"/>
          </a:p>
        </p:txBody>
      </p:sp>
      <p:sp>
        <p:nvSpPr>
          <p:cNvPr id="6" name="Footer Placeholder 5">
            <a:extLst>
              <a:ext uri="{FF2B5EF4-FFF2-40B4-BE49-F238E27FC236}">
                <a16:creationId xmlns:a16="http://schemas.microsoft.com/office/drawing/2014/main" id="{27C2885E-F8FC-A049-B370-3F11D5106D09}"/>
              </a:ext>
            </a:extLst>
          </p:cNvPr>
          <p:cNvSpPr>
            <a:spLocks noGrp="1"/>
          </p:cNvSpPr>
          <p:nvPr>
            <p:ph type="ftr" sz="quarter" idx="11"/>
          </p:nvPr>
        </p:nvSpPr>
        <p:spPr/>
        <p:txBody>
          <a:bodyPr/>
          <a:lstStyle/>
          <a:p>
            <a:endParaRPr lang="en-LT"/>
          </a:p>
        </p:txBody>
      </p:sp>
      <p:sp>
        <p:nvSpPr>
          <p:cNvPr id="7" name="Slide Number Placeholder 6">
            <a:extLst>
              <a:ext uri="{FF2B5EF4-FFF2-40B4-BE49-F238E27FC236}">
                <a16:creationId xmlns:a16="http://schemas.microsoft.com/office/drawing/2014/main" id="{8138736F-1196-E74D-BC71-80ECF0043AB5}"/>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162849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EEFA9-1BD2-8845-B434-23E91A74421A}"/>
              </a:ext>
            </a:extLst>
          </p:cNvPr>
          <p:cNvSpPr>
            <a:spLocks noGrp="1"/>
          </p:cNvSpPr>
          <p:nvPr>
            <p:ph type="title"/>
          </p:nvPr>
        </p:nvSpPr>
        <p:spPr>
          <a:xfrm>
            <a:off x="839788" y="365125"/>
            <a:ext cx="10515600" cy="1325563"/>
          </a:xfrm>
        </p:spPr>
        <p:txBody>
          <a:bodyPr/>
          <a:lstStyle/>
          <a:p>
            <a:r>
              <a:rPr lang="en-GB"/>
              <a:t>Click to edit Master title style</a:t>
            </a:r>
            <a:endParaRPr lang="en-LT"/>
          </a:p>
        </p:txBody>
      </p:sp>
      <p:sp>
        <p:nvSpPr>
          <p:cNvPr id="3" name="Text Placeholder 2">
            <a:extLst>
              <a:ext uri="{FF2B5EF4-FFF2-40B4-BE49-F238E27FC236}">
                <a16:creationId xmlns:a16="http://schemas.microsoft.com/office/drawing/2014/main" id="{D2260310-FB48-7E4C-88AA-6BFB7460F22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0FAEC563-5397-124A-8527-D43BC7E464D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5" name="Text Placeholder 4">
            <a:extLst>
              <a:ext uri="{FF2B5EF4-FFF2-40B4-BE49-F238E27FC236}">
                <a16:creationId xmlns:a16="http://schemas.microsoft.com/office/drawing/2014/main" id="{772649B5-DF08-C94D-B69D-A4B7D2634A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183EFA5-71F3-D548-8445-EF024CA24B83}"/>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7" name="Date Placeholder 6">
            <a:extLst>
              <a:ext uri="{FF2B5EF4-FFF2-40B4-BE49-F238E27FC236}">
                <a16:creationId xmlns:a16="http://schemas.microsoft.com/office/drawing/2014/main" id="{2FD3B84A-D4EE-FF4B-AF21-179230D42B33}"/>
              </a:ext>
            </a:extLst>
          </p:cNvPr>
          <p:cNvSpPr>
            <a:spLocks noGrp="1"/>
          </p:cNvSpPr>
          <p:nvPr>
            <p:ph type="dt" sz="half" idx="10"/>
          </p:nvPr>
        </p:nvSpPr>
        <p:spPr/>
        <p:txBody>
          <a:bodyPr/>
          <a:lstStyle/>
          <a:p>
            <a:fld id="{BF6AB98E-06ED-244E-981C-8D5EDD09A1DD}" type="datetimeFigureOut">
              <a:t>22/10/2023</a:t>
            </a:fld>
            <a:endParaRPr lang="en-LT"/>
          </a:p>
        </p:txBody>
      </p:sp>
      <p:sp>
        <p:nvSpPr>
          <p:cNvPr id="8" name="Footer Placeholder 7">
            <a:extLst>
              <a:ext uri="{FF2B5EF4-FFF2-40B4-BE49-F238E27FC236}">
                <a16:creationId xmlns:a16="http://schemas.microsoft.com/office/drawing/2014/main" id="{88A837E4-69E5-CC42-84EC-5748054E6912}"/>
              </a:ext>
            </a:extLst>
          </p:cNvPr>
          <p:cNvSpPr>
            <a:spLocks noGrp="1"/>
          </p:cNvSpPr>
          <p:nvPr>
            <p:ph type="ftr" sz="quarter" idx="11"/>
          </p:nvPr>
        </p:nvSpPr>
        <p:spPr/>
        <p:txBody>
          <a:bodyPr/>
          <a:lstStyle/>
          <a:p>
            <a:endParaRPr lang="en-LT"/>
          </a:p>
        </p:txBody>
      </p:sp>
      <p:sp>
        <p:nvSpPr>
          <p:cNvPr id="9" name="Slide Number Placeholder 8">
            <a:extLst>
              <a:ext uri="{FF2B5EF4-FFF2-40B4-BE49-F238E27FC236}">
                <a16:creationId xmlns:a16="http://schemas.microsoft.com/office/drawing/2014/main" id="{FC2A8D97-40CD-0842-88E7-B456F03E0BA8}"/>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3315383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E3EC6-632D-6343-81E9-A4BE13DCC92E}"/>
              </a:ext>
            </a:extLst>
          </p:cNvPr>
          <p:cNvSpPr>
            <a:spLocks noGrp="1"/>
          </p:cNvSpPr>
          <p:nvPr>
            <p:ph type="title"/>
          </p:nvPr>
        </p:nvSpPr>
        <p:spPr/>
        <p:txBody>
          <a:bodyPr/>
          <a:lstStyle/>
          <a:p>
            <a:r>
              <a:rPr lang="en-GB"/>
              <a:t>Click to edit Master title style</a:t>
            </a:r>
            <a:endParaRPr lang="en-LT"/>
          </a:p>
        </p:txBody>
      </p:sp>
      <p:sp>
        <p:nvSpPr>
          <p:cNvPr id="3" name="Date Placeholder 2">
            <a:extLst>
              <a:ext uri="{FF2B5EF4-FFF2-40B4-BE49-F238E27FC236}">
                <a16:creationId xmlns:a16="http://schemas.microsoft.com/office/drawing/2014/main" id="{67AD35AF-ACAD-2441-8E49-75E693980653}"/>
              </a:ext>
            </a:extLst>
          </p:cNvPr>
          <p:cNvSpPr>
            <a:spLocks noGrp="1"/>
          </p:cNvSpPr>
          <p:nvPr>
            <p:ph type="dt" sz="half" idx="10"/>
          </p:nvPr>
        </p:nvSpPr>
        <p:spPr/>
        <p:txBody>
          <a:bodyPr/>
          <a:lstStyle/>
          <a:p>
            <a:fld id="{BF6AB98E-06ED-244E-981C-8D5EDD09A1DD}" type="datetimeFigureOut">
              <a:t>22/10/2023</a:t>
            </a:fld>
            <a:endParaRPr lang="en-LT"/>
          </a:p>
        </p:txBody>
      </p:sp>
      <p:sp>
        <p:nvSpPr>
          <p:cNvPr id="4" name="Footer Placeholder 3">
            <a:extLst>
              <a:ext uri="{FF2B5EF4-FFF2-40B4-BE49-F238E27FC236}">
                <a16:creationId xmlns:a16="http://schemas.microsoft.com/office/drawing/2014/main" id="{62BA7882-6BEC-2B4D-B62C-418E38B4E0FC}"/>
              </a:ext>
            </a:extLst>
          </p:cNvPr>
          <p:cNvSpPr>
            <a:spLocks noGrp="1"/>
          </p:cNvSpPr>
          <p:nvPr>
            <p:ph type="ftr" sz="quarter" idx="11"/>
          </p:nvPr>
        </p:nvSpPr>
        <p:spPr/>
        <p:txBody>
          <a:bodyPr/>
          <a:lstStyle/>
          <a:p>
            <a:endParaRPr lang="en-LT"/>
          </a:p>
        </p:txBody>
      </p:sp>
      <p:sp>
        <p:nvSpPr>
          <p:cNvPr id="5" name="Slide Number Placeholder 4">
            <a:extLst>
              <a:ext uri="{FF2B5EF4-FFF2-40B4-BE49-F238E27FC236}">
                <a16:creationId xmlns:a16="http://schemas.microsoft.com/office/drawing/2014/main" id="{09C95A66-5963-A641-BE4E-A8A34F66B6E0}"/>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3880571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FC361D-141D-8940-921C-2B8BB4855EA4}"/>
              </a:ext>
            </a:extLst>
          </p:cNvPr>
          <p:cNvSpPr>
            <a:spLocks noGrp="1"/>
          </p:cNvSpPr>
          <p:nvPr>
            <p:ph type="dt" sz="half" idx="10"/>
          </p:nvPr>
        </p:nvSpPr>
        <p:spPr/>
        <p:txBody>
          <a:bodyPr/>
          <a:lstStyle/>
          <a:p>
            <a:fld id="{BF6AB98E-06ED-244E-981C-8D5EDD09A1DD}" type="datetimeFigureOut">
              <a:t>22/10/2023</a:t>
            </a:fld>
            <a:endParaRPr lang="en-LT"/>
          </a:p>
        </p:txBody>
      </p:sp>
      <p:sp>
        <p:nvSpPr>
          <p:cNvPr id="3" name="Footer Placeholder 2">
            <a:extLst>
              <a:ext uri="{FF2B5EF4-FFF2-40B4-BE49-F238E27FC236}">
                <a16:creationId xmlns:a16="http://schemas.microsoft.com/office/drawing/2014/main" id="{B2166728-4CA4-3C41-9091-BC8AFA573AE6}"/>
              </a:ext>
            </a:extLst>
          </p:cNvPr>
          <p:cNvSpPr>
            <a:spLocks noGrp="1"/>
          </p:cNvSpPr>
          <p:nvPr>
            <p:ph type="ftr" sz="quarter" idx="11"/>
          </p:nvPr>
        </p:nvSpPr>
        <p:spPr/>
        <p:txBody>
          <a:bodyPr/>
          <a:lstStyle/>
          <a:p>
            <a:endParaRPr lang="en-LT"/>
          </a:p>
        </p:txBody>
      </p:sp>
      <p:sp>
        <p:nvSpPr>
          <p:cNvPr id="4" name="Slide Number Placeholder 3">
            <a:extLst>
              <a:ext uri="{FF2B5EF4-FFF2-40B4-BE49-F238E27FC236}">
                <a16:creationId xmlns:a16="http://schemas.microsoft.com/office/drawing/2014/main" id="{D75A811D-A684-2542-9A0B-EC0B1564E0C5}"/>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37709828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B2D2D-99D1-5E4F-9151-DEEDEA67521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LT"/>
          </a:p>
        </p:txBody>
      </p:sp>
      <p:sp>
        <p:nvSpPr>
          <p:cNvPr id="3" name="Content Placeholder 2">
            <a:extLst>
              <a:ext uri="{FF2B5EF4-FFF2-40B4-BE49-F238E27FC236}">
                <a16:creationId xmlns:a16="http://schemas.microsoft.com/office/drawing/2014/main" id="{82420829-B44B-D146-9CF6-21A1115D73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Text Placeholder 3">
            <a:extLst>
              <a:ext uri="{FF2B5EF4-FFF2-40B4-BE49-F238E27FC236}">
                <a16:creationId xmlns:a16="http://schemas.microsoft.com/office/drawing/2014/main" id="{2E31B511-1552-4945-B52E-5F346ED841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E44C71B-A518-FB4A-BA28-83701CC4AEC7}"/>
              </a:ext>
            </a:extLst>
          </p:cNvPr>
          <p:cNvSpPr>
            <a:spLocks noGrp="1"/>
          </p:cNvSpPr>
          <p:nvPr>
            <p:ph type="dt" sz="half" idx="10"/>
          </p:nvPr>
        </p:nvSpPr>
        <p:spPr/>
        <p:txBody>
          <a:bodyPr/>
          <a:lstStyle/>
          <a:p>
            <a:fld id="{BF6AB98E-06ED-244E-981C-8D5EDD09A1DD}" type="datetimeFigureOut">
              <a:t>22/10/2023</a:t>
            </a:fld>
            <a:endParaRPr lang="en-LT"/>
          </a:p>
        </p:txBody>
      </p:sp>
      <p:sp>
        <p:nvSpPr>
          <p:cNvPr id="6" name="Footer Placeholder 5">
            <a:extLst>
              <a:ext uri="{FF2B5EF4-FFF2-40B4-BE49-F238E27FC236}">
                <a16:creationId xmlns:a16="http://schemas.microsoft.com/office/drawing/2014/main" id="{A61E08EB-0C0F-F341-823A-D186866B35B5}"/>
              </a:ext>
            </a:extLst>
          </p:cNvPr>
          <p:cNvSpPr>
            <a:spLocks noGrp="1"/>
          </p:cNvSpPr>
          <p:nvPr>
            <p:ph type="ftr" sz="quarter" idx="11"/>
          </p:nvPr>
        </p:nvSpPr>
        <p:spPr/>
        <p:txBody>
          <a:bodyPr/>
          <a:lstStyle/>
          <a:p>
            <a:endParaRPr lang="en-LT"/>
          </a:p>
        </p:txBody>
      </p:sp>
      <p:sp>
        <p:nvSpPr>
          <p:cNvPr id="7" name="Slide Number Placeholder 6">
            <a:extLst>
              <a:ext uri="{FF2B5EF4-FFF2-40B4-BE49-F238E27FC236}">
                <a16:creationId xmlns:a16="http://schemas.microsoft.com/office/drawing/2014/main" id="{E7C22198-E8FE-DC45-A893-4372F8FE6B0C}"/>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8769259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50B31-481F-2F4B-9812-5193BB42EE6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LT"/>
          </a:p>
        </p:txBody>
      </p:sp>
      <p:sp>
        <p:nvSpPr>
          <p:cNvPr id="3" name="Picture Placeholder 2">
            <a:extLst>
              <a:ext uri="{FF2B5EF4-FFF2-40B4-BE49-F238E27FC236}">
                <a16:creationId xmlns:a16="http://schemas.microsoft.com/office/drawing/2014/main" id="{B6998F9E-E5CE-EC4E-B71F-B397625D23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LT"/>
          </a:p>
        </p:txBody>
      </p:sp>
      <p:sp>
        <p:nvSpPr>
          <p:cNvPr id="4" name="Text Placeholder 3">
            <a:extLst>
              <a:ext uri="{FF2B5EF4-FFF2-40B4-BE49-F238E27FC236}">
                <a16:creationId xmlns:a16="http://schemas.microsoft.com/office/drawing/2014/main" id="{150FCF30-71D9-9C4D-8F9F-FCF564E239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B07861C-B636-764A-9CD3-823E81C07FF3}"/>
              </a:ext>
            </a:extLst>
          </p:cNvPr>
          <p:cNvSpPr>
            <a:spLocks noGrp="1"/>
          </p:cNvSpPr>
          <p:nvPr>
            <p:ph type="dt" sz="half" idx="10"/>
          </p:nvPr>
        </p:nvSpPr>
        <p:spPr/>
        <p:txBody>
          <a:bodyPr/>
          <a:lstStyle/>
          <a:p>
            <a:fld id="{BF6AB98E-06ED-244E-981C-8D5EDD09A1DD}" type="datetimeFigureOut">
              <a:t>22/10/2023</a:t>
            </a:fld>
            <a:endParaRPr lang="en-LT"/>
          </a:p>
        </p:txBody>
      </p:sp>
      <p:sp>
        <p:nvSpPr>
          <p:cNvPr id="6" name="Footer Placeholder 5">
            <a:extLst>
              <a:ext uri="{FF2B5EF4-FFF2-40B4-BE49-F238E27FC236}">
                <a16:creationId xmlns:a16="http://schemas.microsoft.com/office/drawing/2014/main" id="{C81520BE-944B-324F-B2AC-47EC19C028AE}"/>
              </a:ext>
            </a:extLst>
          </p:cNvPr>
          <p:cNvSpPr>
            <a:spLocks noGrp="1"/>
          </p:cNvSpPr>
          <p:nvPr>
            <p:ph type="ftr" sz="quarter" idx="11"/>
          </p:nvPr>
        </p:nvSpPr>
        <p:spPr/>
        <p:txBody>
          <a:bodyPr/>
          <a:lstStyle/>
          <a:p>
            <a:endParaRPr lang="en-LT"/>
          </a:p>
        </p:txBody>
      </p:sp>
      <p:sp>
        <p:nvSpPr>
          <p:cNvPr id="7" name="Slide Number Placeholder 6">
            <a:extLst>
              <a:ext uri="{FF2B5EF4-FFF2-40B4-BE49-F238E27FC236}">
                <a16:creationId xmlns:a16="http://schemas.microsoft.com/office/drawing/2014/main" id="{3CB5245A-B24E-1C4E-AEF3-783B1D944706}"/>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101987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C05685-D195-DA43-A74C-70E926F925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LT"/>
          </a:p>
        </p:txBody>
      </p:sp>
      <p:sp>
        <p:nvSpPr>
          <p:cNvPr id="3" name="Text Placeholder 2">
            <a:extLst>
              <a:ext uri="{FF2B5EF4-FFF2-40B4-BE49-F238E27FC236}">
                <a16:creationId xmlns:a16="http://schemas.microsoft.com/office/drawing/2014/main" id="{93E625E6-5026-7943-B16C-50A25A522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BC2A7C82-C501-4E48-A5D1-46092A3401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AB98E-06ED-244E-981C-8D5EDD09A1DD}" type="datetimeFigureOut">
              <a:t>22/10/2023</a:t>
            </a:fld>
            <a:endParaRPr lang="en-LT"/>
          </a:p>
        </p:txBody>
      </p:sp>
      <p:sp>
        <p:nvSpPr>
          <p:cNvPr id="5" name="Footer Placeholder 4">
            <a:extLst>
              <a:ext uri="{FF2B5EF4-FFF2-40B4-BE49-F238E27FC236}">
                <a16:creationId xmlns:a16="http://schemas.microsoft.com/office/drawing/2014/main" id="{E0C88ACA-CCB2-6640-9D5C-AE5BA9B7698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LT"/>
          </a:p>
        </p:txBody>
      </p:sp>
      <p:sp>
        <p:nvSpPr>
          <p:cNvPr id="6" name="Slide Number Placeholder 5">
            <a:extLst>
              <a:ext uri="{FF2B5EF4-FFF2-40B4-BE49-F238E27FC236}">
                <a16:creationId xmlns:a16="http://schemas.microsoft.com/office/drawing/2014/main" id="{EAA941F9-4486-6F49-A4EF-D68D15F999C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054021-B7F5-ED46-B19B-FD5F14D6394D}" type="slidenum">
              <a:t>‹N°›</a:t>
            </a:fld>
            <a:endParaRPr lang="en-LT"/>
          </a:p>
        </p:txBody>
      </p:sp>
    </p:spTree>
    <p:extLst>
      <p:ext uri="{BB962C8B-B14F-4D97-AF65-F5344CB8AC3E}">
        <p14:creationId xmlns:p14="http://schemas.microsoft.com/office/powerpoint/2010/main" val="15447462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slide" Target="slide6.xml"/><Relationship Id="rId3" Type="http://schemas.openxmlformats.org/officeDocument/2006/relationships/slideLayout" Target="../slideLayouts/slideLayout7.xml"/><Relationship Id="rId7" Type="http://schemas.openxmlformats.org/officeDocument/2006/relationships/image" Target="../media/image67.svg"/><Relationship Id="rId12" Type="http://schemas.openxmlformats.org/officeDocument/2006/relationships/image" Target="../media/image7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6.png"/><Relationship Id="rId11" Type="http://schemas.openxmlformats.org/officeDocument/2006/relationships/image" Target="../media/image69.png"/><Relationship Id="rId5" Type="http://schemas.openxmlformats.org/officeDocument/2006/relationships/image" Target="../media/image65.jpg"/><Relationship Id="rId15" Type="http://schemas.openxmlformats.org/officeDocument/2006/relationships/image" Target="../media/image72.svg"/><Relationship Id="rId10" Type="http://schemas.openxmlformats.org/officeDocument/2006/relationships/image" Target="../media/image68.png"/><Relationship Id="rId4" Type="http://schemas.openxmlformats.org/officeDocument/2006/relationships/notesSlide" Target="../notesSlides/notesSlide9.xml"/><Relationship Id="rId9" Type="http://schemas.openxmlformats.org/officeDocument/2006/relationships/image" Target="../media/image64.emf"/><Relationship Id="rId14" Type="http://schemas.openxmlformats.org/officeDocument/2006/relationships/image" Target="../media/image71.png"/></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74.svg"/></Relationships>
</file>

<file path=ppt/slides/_rels/slide12.xml.rels><?xml version="1.0" encoding="UTF-8" standalone="yes"?>
<Relationships xmlns="http://schemas.openxmlformats.org/package/2006/relationships"><Relationship Id="rId8" Type="http://schemas.openxmlformats.org/officeDocument/2006/relationships/image" Target="../media/image64.emf"/><Relationship Id="rId3" Type="http://schemas.openxmlformats.org/officeDocument/2006/relationships/slideLayout" Target="../slideLayouts/slideLayout7.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7.svg"/><Relationship Id="rId11" Type="http://schemas.openxmlformats.org/officeDocument/2006/relationships/image" Target="../media/image72.svg"/><Relationship Id="rId5" Type="http://schemas.openxmlformats.org/officeDocument/2006/relationships/image" Target="../media/image66.png"/><Relationship Id="rId10" Type="http://schemas.openxmlformats.org/officeDocument/2006/relationships/image" Target="../media/image71.png"/><Relationship Id="rId4" Type="http://schemas.openxmlformats.org/officeDocument/2006/relationships/image" Target="../media/image65.jpg"/><Relationship Id="rId9" Type="http://schemas.openxmlformats.org/officeDocument/2006/relationships/slide" Target="slide5.xml"/></Relationships>
</file>

<file path=ppt/slides/_rels/slide13.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image" Target="../media/image67.svg"/><Relationship Id="rId12" Type="http://schemas.openxmlformats.org/officeDocument/2006/relationships/image" Target="../media/image72.sv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jpg"/><Relationship Id="rId10" Type="http://schemas.openxmlformats.org/officeDocument/2006/relationships/slide" Target="slide5.xml"/><Relationship Id="rId4" Type="http://schemas.openxmlformats.org/officeDocument/2006/relationships/notesSlide" Target="../notesSlides/notesSlide11.xml"/><Relationship Id="rId9" Type="http://schemas.openxmlformats.org/officeDocument/2006/relationships/image" Target="../media/image64.emf"/></Relationships>
</file>

<file path=ppt/slides/_rels/slide15.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72.svg"/><Relationship Id="rId3" Type="http://schemas.openxmlformats.org/officeDocument/2006/relationships/slideLayout" Target="../slideLayouts/slideLayout7.xml"/><Relationship Id="rId7" Type="http://schemas.openxmlformats.org/officeDocument/2006/relationships/image" Target="../media/image67.svg"/><Relationship Id="rId12" Type="http://schemas.openxmlformats.org/officeDocument/2006/relationships/image" Target="../media/image71.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6.png"/><Relationship Id="rId11" Type="http://schemas.openxmlformats.org/officeDocument/2006/relationships/slide" Target="slide5.xml"/><Relationship Id="rId5" Type="http://schemas.openxmlformats.org/officeDocument/2006/relationships/image" Target="../media/image65.jpg"/><Relationship Id="rId10" Type="http://schemas.openxmlformats.org/officeDocument/2006/relationships/image" Target="../media/image75.png"/><Relationship Id="rId4" Type="http://schemas.openxmlformats.org/officeDocument/2006/relationships/notesSlide" Target="../notesSlides/notesSlide12.xml"/><Relationship Id="rId9" Type="http://schemas.openxmlformats.org/officeDocument/2006/relationships/image" Target="../media/image64.emf"/></Relationships>
</file>

<file path=ppt/slides/_rels/slide1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74.sv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72.svg"/><Relationship Id="rId3" Type="http://schemas.openxmlformats.org/officeDocument/2006/relationships/slideLayout" Target="../slideLayouts/slideLayout7.xml"/><Relationship Id="rId7" Type="http://schemas.openxmlformats.org/officeDocument/2006/relationships/image" Target="../media/image67.svg"/><Relationship Id="rId12" Type="http://schemas.openxmlformats.org/officeDocument/2006/relationships/image" Target="../media/image71.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6.png"/><Relationship Id="rId11" Type="http://schemas.openxmlformats.org/officeDocument/2006/relationships/slide" Target="slide5.xml"/><Relationship Id="rId5" Type="http://schemas.openxmlformats.org/officeDocument/2006/relationships/image" Target="../media/image65.jpg"/><Relationship Id="rId10" Type="http://schemas.openxmlformats.org/officeDocument/2006/relationships/image" Target="../media/image76.png"/><Relationship Id="rId4" Type="http://schemas.openxmlformats.org/officeDocument/2006/relationships/notesSlide" Target="../notesSlides/notesSlide14.xml"/><Relationship Id="rId9" Type="http://schemas.openxmlformats.org/officeDocument/2006/relationships/image" Target="../media/image64.emf"/></Relationships>
</file>

<file path=ppt/slides/_rels/slide1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78.sv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80.svg"/></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82.svg"/></Relationships>
</file>

<file path=ppt/slides/_rels/slide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78.svg"/></Relationships>
</file>

<file path=ppt/slides/_rels/slide2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84.svg"/></Relationships>
</file>

<file path=ppt/slides/_rels/slide2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86.svg"/></Relationships>
</file>

<file path=ppt/slides/_rels/slide2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88.svg"/></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90.svg"/></Relationships>
</file>

<file path=ppt/slides/_rels/slide2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92.svg"/></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94.svg"/></Relationships>
</file>

<file path=ppt/slides/_rels/slide2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96.sv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1.png"/><Relationship Id="rId18" Type="http://schemas.openxmlformats.org/officeDocument/2006/relationships/image" Target="../media/image15.png"/><Relationship Id="rId26" Type="http://schemas.openxmlformats.org/officeDocument/2006/relationships/image" Target="../media/image21.png"/><Relationship Id="rId3" Type="http://schemas.openxmlformats.org/officeDocument/2006/relationships/slide" Target="slide3.xml"/><Relationship Id="rId21" Type="http://schemas.openxmlformats.org/officeDocument/2006/relationships/image" Target="../media/image17.png"/><Relationship Id="rId7" Type="http://schemas.openxmlformats.org/officeDocument/2006/relationships/image" Target="../media/image6.svg"/><Relationship Id="rId12" Type="http://schemas.openxmlformats.org/officeDocument/2006/relationships/image" Target="../media/image10.svg"/><Relationship Id="rId17" Type="http://schemas.openxmlformats.org/officeDocument/2006/relationships/slide" Target="slide4.xml"/><Relationship Id="rId25" Type="http://schemas.openxmlformats.org/officeDocument/2006/relationships/image" Target="../media/image20.svg"/><Relationship Id="rId2" Type="http://schemas.openxmlformats.org/officeDocument/2006/relationships/notesSlide" Target="../notesSlides/notesSlide3.xml"/><Relationship Id="rId16" Type="http://schemas.openxmlformats.org/officeDocument/2006/relationships/image" Target="../media/image14.svg"/><Relationship Id="rId20" Type="http://schemas.openxmlformats.org/officeDocument/2006/relationships/slide" Target="slide5.xml"/><Relationship Id="rId29" Type="http://schemas.openxmlformats.org/officeDocument/2006/relationships/slide" Target="slide8.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9.png"/><Relationship Id="rId24" Type="http://schemas.openxmlformats.org/officeDocument/2006/relationships/image" Target="../media/image19.png"/><Relationship Id="rId5" Type="http://schemas.openxmlformats.org/officeDocument/2006/relationships/image" Target="../media/image4.svg"/><Relationship Id="rId15" Type="http://schemas.openxmlformats.org/officeDocument/2006/relationships/image" Target="../media/image13.png"/><Relationship Id="rId23" Type="http://schemas.openxmlformats.org/officeDocument/2006/relationships/slide" Target="slide6.xml"/><Relationship Id="rId28" Type="http://schemas.openxmlformats.org/officeDocument/2006/relationships/slide" Target="slide9.xml"/><Relationship Id="rId10" Type="http://schemas.openxmlformats.org/officeDocument/2006/relationships/slide" Target="slide7.xml"/><Relationship Id="rId19" Type="http://schemas.openxmlformats.org/officeDocument/2006/relationships/image" Target="../media/image16.svg"/><Relationship Id="rId31" Type="http://schemas.openxmlformats.org/officeDocument/2006/relationships/image" Target="../media/image24.svg"/><Relationship Id="rId4" Type="http://schemas.openxmlformats.org/officeDocument/2006/relationships/image" Target="../media/image3.png"/><Relationship Id="rId9" Type="http://schemas.openxmlformats.org/officeDocument/2006/relationships/image" Target="../media/image8.svg"/><Relationship Id="rId14" Type="http://schemas.openxmlformats.org/officeDocument/2006/relationships/image" Target="../media/image12.svg"/><Relationship Id="rId22" Type="http://schemas.openxmlformats.org/officeDocument/2006/relationships/image" Target="../media/image18.svg"/><Relationship Id="rId27" Type="http://schemas.openxmlformats.org/officeDocument/2006/relationships/image" Target="../media/image22.svg"/><Relationship Id="rId30" Type="http://schemas.openxmlformats.org/officeDocument/2006/relationships/image" Target="../media/image23.png"/></Relationships>
</file>

<file path=ppt/slides/_rels/slide3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 Target="slide19.xml"/><Relationship Id="rId1" Type="http://schemas.openxmlformats.org/officeDocument/2006/relationships/slideLayout" Target="../slideLayouts/slideLayout7.xml"/><Relationship Id="rId4" Type="http://schemas.openxmlformats.org/officeDocument/2006/relationships/image" Target="../media/image98.svg"/></Relationships>
</file>

<file path=ppt/slides/_rels/slide31.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72.svg"/><Relationship Id="rId2" Type="http://schemas.openxmlformats.org/officeDocument/2006/relationships/slide" Target="slide19.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slide" Target="slide7.xml"/><Relationship Id="rId4" Type="http://schemas.openxmlformats.org/officeDocument/2006/relationships/image" Target="../media/image100.svg"/></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74.svg"/></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72.svg"/><Relationship Id="rId3" Type="http://schemas.openxmlformats.org/officeDocument/2006/relationships/slideLayout" Target="../slideLayouts/slideLayout7.xml"/><Relationship Id="rId7" Type="http://schemas.openxmlformats.org/officeDocument/2006/relationships/image" Target="../media/image67.svg"/><Relationship Id="rId12" Type="http://schemas.openxmlformats.org/officeDocument/2006/relationships/image" Target="../media/image71.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6.png"/><Relationship Id="rId11" Type="http://schemas.openxmlformats.org/officeDocument/2006/relationships/slide" Target="slide8.xml"/><Relationship Id="rId5" Type="http://schemas.openxmlformats.org/officeDocument/2006/relationships/image" Target="../media/image65.jpg"/><Relationship Id="rId10" Type="http://schemas.openxmlformats.org/officeDocument/2006/relationships/image" Target="../media/image76.png"/><Relationship Id="rId4" Type="http://schemas.openxmlformats.org/officeDocument/2006/relationships/notesSlide" Target="../notesSlides/notesSlide16.xml"/><Relationship Id="rId9" Type="http://schemas.openxmlformats.org/officeDocument/2006/relationships/image" Target="../media/image64.emf"/></Relationships>
</file>

<file path=ppt/slides/_rels/slide3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74.svg"/></Relationships>
</file>

<file path=ppt/slides/_rels/slide35.xml.rels><?xml version="1.0" encoding="UTF-8" standalone="yes"?>
<Relationships xmlns="http://schemas.openxmlformats.org/package/2006/relationships"><Relationship Id="rId8" Type="http://schemas.openxmlformats.org/officeDocument/2006/relationships/image" Target="../media/image64.emf"/><Relationship Id="rId13" Type="http://schemas.openxmlformats.org/officeDocument/2006/relationships/image" Target="../media/image71.png"/><Relationship Id="rId3" Type="http://schemas.openxmlformats.org/officeDocument/2006/relationships/slideLayout" Target="../slideLayouts/slideLayout7.xml"/><Relationship Id="rId7" Type="http://schemas.openxmlformats.org/officeDocument/2006/relationships/oleObject" Target="../embeddings/oleObject3.bin"/><Relationship Id="rId12" Type="http://schemas.openxmlformats.org/officeDocument/2006/relationships/slide" Target="slide8.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67.svg"/><Relationship Id="rId11" Type="http://schemas.openxmlformats.org/officeDocument/2006/relationships/image" Target="../media/image103.jpeg"/><Relationship Id="rId5" Type="http://schemas.openxmlformats.org/officeDocument/2006/relationships/image" Target="../media/image66.png"/><Relationship Id="rId10" Type="http://schemas.openxmlformats.org/officeDocument/2006/relationships/image" Target="../media/image102.jpg"/><Relationship Id="rId4" Type="http://schemas.openxmlformats.org/officeDocument/2006/relationships/image" Target="../media/image65.jpg"/><Relationship Id="rId9" Type="http://schemas.openxmlformats.org/officeDocument/2006/relationships/image" Target="../media/image101.png"/><Relationship Id="rId14" Type="http://schemas.openxmlformats.org/officeDocument/2006/relationships/image" Target="../media/image72.svg"/></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6.svg"/><Relationship Id="rId18" Type="http://schemas.openxmlformats.org/officeDocument/2006/relationships/image" Target="../media/image10.svg"/><Relationship Id="rId26" Type="http://schemas.openxmlformats.org/officeDocument/2006/relationships/slide" Target="slide5.xml"/><Relationship Id="rId3" Type="http://schemas.openxmlformats.org/officeDocument/2006/relationships/slide" Target="slide6.xml"/><Relationship Id="rId21" Type="http://schemas.openxmlformats.org/officeDocument/2006/relationships/slide" Target="slide3.xml"/><Relationship Id="rId7" Type="http://schemas.openxmlformats.org/officeDocument/2006/relationships/image" Target="../media/image24.svg"/><Relationship Id="rId12" Type="http://schemas.openxmlformats.org/officeDocument/2006/relationships/image" Target="../media/image5.png"/><Relationship Id="rId17" Type="http://schemas.openxmlformats.org/officeDocument/2006/relationships/image" Target="../media/image9.png"/><Relationship Id="rId25" Type="http://schemas.openxmlformats.org/officeDocument/2006/relationships/image" Target="../media/image30.svg"/><Relationship Id="rId2" Type="http://schemas.openxmlformats.org/officeDocument/2006/relationships/notesSlide" Target="../notesSlides/notesSlide4.xml"/><Relationship Id="rId16" Type="http://schemas.openxmlformats.org/officeDocument/2006/relationships/slide" Target="slide7.xml"/><Relationship Id="rId20" Type="http://schemas.openxmlformats.org/officeDocument/2006/relationships/image" Target="../media/image12.svg"/><Relationship Id="rId29" Type="http://schemas.openxmlformats.org/officeDocument/2006/relationships/image" Target="../media/image19.png"/><Relationship Id="rId1" Type="http://schemas.openxmlformats.org/officeDocument/2006/relationships/slideLayout" Target="../slideLayouts/slideLayout7.xml"/><Relationship Id="rId6" Type="http://schemas.openxmlformats.org/officeDocument/2006/relationships/image" Target="../media/image23.png"/><Relationship Id="rId11" Type="http://schemas.openxmlformats.org/officeDocument/2006/relationships/image" Target="../media/image4.svg"/><Relationship Id="rId24" Type="http://schemas.openxmlformats.org/officeDocument/2006/relationships/slide" Target="slide4.xml"/><Relationship Id="rId32" Type="http://schemas.openxmlformats.org/officeDocument/2006/relationships/image" Target="../media/image22.svg"/><Relationship Id="rId5" Type="http://schemas.openxmlformats.org/officeDocument/2006/relationships/image" Target="../media/image25.svg"/><Relationship Id="rId15" Type="http://schemas.openxmlformats.org/officeDocument/2006/relationships/image" Target="../media/image8.svg"/><Relationship Id="rId23" Type="http://schemas.openxmlformats.org/officeDocument/2006/relationships/image" Target="../media/image29.svg"/><Relationship Id="rId28" Type="http://schemas.openxmlformats.org/officeDocument/2006/relationships/image" Target="../media/image18.svg"/><Relationship Id="rId10" Type="http://schemas.openxmlformats.org/officeDocument/2006/relationships/image" Target="../media/image3.png"/><Relationship Id="rId19" Type="http://schemas.openxmlformats.org/officeDocument/2006/relationships/image" Target="../media/image11.png"/><Relationship Id="rId31"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7.svg"/><Relationship Id="rId14" Type="http://schemas.openxmlformats.org/officeDocument/2006/relationships/image" Target="../media/image7.png"/><Relationship Id="rId22" Type="http://schemas.openxmlformats.org/officeDocument/2006/relationships/image" Target="../media/image28.png"/><Relationship Id="rId27" Type="http://schemas.openxmlformats.org/officeDocument/2006/relationships/image" Target="../media/image17.png"/><Relationship Id="rId30" Type="http://schemas.openxmlformats.org/officeDocument/2006/relationships/image" Target="../media/image20.svg"/></Relationships>
</file>

<file path=ppt/slides/_rels/slide5.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7.png"/><Relationship Id="rId18" Type="http://schemas.openxmlformats.org/officeDocument/2006/relationships/image" Target="../media/image11.png"/><Relationship Id="rId26" Type="http://schemas.openxmlformats.org/officeDocument/2006/relationships/image" Target="../media/image13.png"/><Relationship Id="rId3" Type="http://schemas.openxmlformats.org/officeDocument/2006/relationships/slide" Target="slide11.xml"/><Relationship Id="rId21" Type="http://schemas.openxmlformats.org/officeDocument/2006/relationships/image" Target="../media/image28.png"/><Relationship Id="rId7" Type="http://schemas.openxmlformats.org/officeDocument/2006/relationships/image" Target="../media/image31.png"/><Relationship Id="rId12" Type="http://schemas.openxmlformats.org/officeDocument/2006/relationships/image" Target="../media/image6.svg"/><Relationship Id="rId17" Type="http://schemas.openxmlformats.org/officeDocument/2006/relationships/image" Target="../media/image10.svg"/><Relationship Id="rId25" Type="http://schemas.openxmlformats.org/officeDocument/2006/relationships/image" Target="../media/image16.svg"/><Relationship Id="rId2" Type="http://schemas.openxmlformats.org/officeDocument/2006/relationships/notesSlide" Target="../notesSlides/notesSlide5.xml"/><Relationship Id="rId16" Type="http://schemas.openxmlformats.org/officeDocument/2006/relationships/image" Target="../media/image9.png"/><Relationship Id="rId20" Type="http://schemas.openxmlformats.org/officeDocument/2006/relationships/slide" Target="slide3.xml"/><Relationship Id="rId29" Type="http://schemas.openxmlformats.org/officeDocument/2006/relationships/image" Target="../media/image19.png"/><Relationship Id="rId1" Type="http://schemas.openxmlformats.org/officeDocument/2006/relationships/slideLayout" Target="../slideLayouts/slideLayout7.xml"/><Relationship Id="rId6" Type="http://schemas.openxmlformats.org/officeDocument/2006/relationships/slide" Target="slide17.xml"/><Relationship Id="rId11" Type="http://schemas.openxmlformats.org/officeDocument/2006/relationships/image" Target="../media/image5.png"/><Relationship Id="rId24" Type="http://schemas.openxmlformats.org/officeDocument/2006/relationships/image" Target="../media/image15.png"/><Relationship Id="rId32" Type="http://schemas.openxmlformats.org/officeDocument/2006/relationships/image" Target="../media/image22.svg"/><Relationship Id="rId5" Type="http://schemas.openxmlformats.org/officeDocument/2006/relationships/slide" Target="slide13.xml"/><Relationship Id="rId15" Type="http://schemas.openxmlformats.org/officeDocument/2006/relationships/slide" Target="slide7.xml"/><Relationship Id="rId23" Type="http://schemas.openxmlformats.org/officeDocument/2006/relationships/slide" Target="slide4.xml"/><Relationship Id="rId28" Type="http://schemas.openxmlformats.org/officeDocument/2006/relationships/slide" Target="slide6.xml"/><Relationship Id="rId10" Type="http://schemas.openxmlformats.org/officeDocument/2006/relationships/image" Target="../media/image4.svg"/><Relationship Id="rId19" Type="http://schemas.openxmlformats.org/officeDocument/2006/relationships/image" Target="../media/image12.svg"/><Relationship Id="rId31" Type="http://schemas.openxmlformats.org/officeDocument/2006/relationships/image" Target="../media/image21.png"/><Relationship Id="rId4" Type="http://schemas.openxmlformats.org/officeDocument/2006/relationships/slide" Target="slide15.xml"/><Relationship Id="rId9" Type="http://schemas.openxmlformats.org/officeDocument/2006/relationships/image" Target="../media/image3.png"/><Relationship Id="rId14" Type="http://schemas.openxmlformats.org/officeDocument/2006/relationships/image" Target="../media/image8.svg"/><Relationship Id="rId22" Type="http://schemas.openxmlformats.org/officeDocument/2006/relationships/image" Target="../media/image33.svg"/><Relationship Id="rId27" Type="http://schemas.openxmlformats.org/officeDocument/2006/relationships/image" Target="../media/image34.svg"/><Relationship Id="rId30" Type="http://schemas.openxmlformats.org/officeDocument/2006/relationships/image" Target="../media/image20.svg"/></Relationships>
</file>

<file path=ppt/slides/_rels/slide6.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image" Target="../media/image10.svg"/><Relationship Id="rId18" Type="http://schemas.openxmlformats.org/officeDocument/2006/relationships/image" Target="../media/image28.png"/><Relationship Id="rId26" Type="http://schemas.openxmlformats.org/officeDocument/2006/relationships/image" Target="../media/image21.png"/><Relationship Id="rId3" Type="http://schemas.openxmlformats.org/officeDocument/2006/relationships/image" Target="../media/image3.png"/><Relationship Id="rId21" Type="http://schemas.openxmlformats.org/officeDocument/2006/relationships/image" Target="../media/image16.svg"/><Relationship Id="rId7" Type="http://schemas.openxmlformats.org/officeDocument/2006/relationships/image" Target="../media/image6.svg"/><Relationship Id="rId12" Type="http://schemas.openxmlformats.org/officeDocument/2006/relationships/image" Target="../media/image9.png"/><Relationship Id="rId17" Type="http://schemas.openxmlformats.org/officeDocument/2006/relationships/slide" Target="slide3.xml"/><Relationship Id="rId25" Type="http://schemas.openxmlformats.org/officeDocument/2006/relationships/image" Target="../media/image25.svg"/><Relationship Id="rId2" Type="http://schemas.openxmlformats.org/officeDocument/2006/relationships/notesSlide" Target="../notesSlides/notesSlide6.xml"/><Relationship Id="rId16" Type="http://schemas.openxmlformats.org/officeDocument/2006/relationships/image" Target="../media/image12.svg"/><Relationship Id="rId20" Type="http://schemas.openxmlformats.org/officeDocument/2006/relationships/image" Target="../media/image15.png"/><Relationship Id="rId29"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slide" Target="slide7.xml"/><Relationship Id="rId24" Type="http://schemas.openxmlformats.org/officeDocument/2006/relationships/image" Target="../media/image13.png"/><Relationship Id="rId5" Type="http://schemas.openxmlformats.org/officeDocument/2006/relationships/slide" Target="slide4.xml"/><Relationship Id="rId15" Type="http://schemas.openxmlformats.org/officeDocument/2006/relationships/image" Target="../media/image11.png"/><Relationship Id="rId23" Type="http://schemas.openxmlformats.org/officeDocument/2006/relationships/image" Target="../media/image18.svg"/><Relationship Id="rId28" Type="http://schemas.openxmlformats.org/officeDocument/2006/relationships/slide" Target="slide10.xml"/><Relationship Id="rId10" Type="http://schemas.openxmlformats.org/officeDocument/2006/relationships/image" Target="../media/image8.svg"/><Relationship Id="rId19" Type="http://schemas.openxmlformats.org/officeDocument/2006/relationships/image" Target="../media/image33.svg"/><Relationship Id="rId4" Type="http://schemas.openxmlformats.org/officeDocument/2006/relationships/image" Target="../media/image4.svg"/><Relationship Id="rId9" Type="http://schemas.openxmlformats.org/officeDocument/2006/relationships/image" Target="../media/image7.png"/><Relationship Id="rId14" Type="http://schemas.openxmlformats.org/officeDocument/2006/relationships/slide" Target="slide5.xml"/><Relationship Id="rId22" Type="http://schemas.openxmlformats.org/officeDocument/2006/relationships/image" Target="../media/image17.png"/><Relationship Id="rId27" Type="http://schemas.openxmlformats.org/officeDocument/2006/relationships/image" Target="../media/image22.svg"/><Relationship Id="rId30" Type="http://schemas.openxmlformats.org/officeDocument/2006/relationships/image" Target="../media/image24.svg"/></Relationships>
</file>

<file path=ppt/slides/_rels/slide7.xml.rels><?xml version="1.0" encoding="UTF-8" standalone="yes"?>
<Relationships xmlns="http://schemas.openxmlformats.org/package/2006/relationships"><Relationship Id="rId13" Type="http://schemas.openxmlformats.org/officeDocument/2006/relationships/image" Target="../media/image15.png"/><Relationship Id="rId18" Type="http://schemas.openxmlformats.org/officeDocument/2006/relationships/image" Target="../media/image8.svg"/><Relationship Id="rId26" Type="http://schemas.openxmlformats.org/officeDocument/2006/relationships/image" Target="../media/image36.svg"/><Relationship Id="rId39" Type="http://schemas.openxmlformats.org/officeDocument/2006/relationships/image" Target="../media/image43.png"/><Relationship Id="rId21" Type="http://schemas.openxmlformats.org/officeDocument/2006/relationships/image" Target="../media/image10.svg"/><Relationship Id="rId34" Type="http://schemas.openxmlformats.org/officeDocument/2006/relationships/image" Target="../media/image40.svg"/><Relationship Id="rId42" Type="http://schemas.openxmlformats.org/officeDocument/2006/relationships/image" Target="../media/image45.png"/><Relationship Id="rId47" Type="http://schemas.openxmlformats.org/officeDocument/2006/relationships/slide" Target="slide24.xml"/><Relationship Id="rId50" Type="http://schemas.openxmlformats.org/officeDocument/2006/relationships/slide" Target="slide25.xml"/><Relationship Id="rId55" Type="http://schemas.openxmlformats.org/officeDocument/2006/relationships/image" Target="../media/image54.svg"/><Relationship Id="rId7" Type="http://schemas.openxmlformats.org/officeDocument/2006/relationships/slide" Target="slide5.xml"/><Relationship Id="rId2" Type="http://schemas.openxmlformats.org/officeDocument/2006/relationships/image" Target="../media/image3.png"/><Relationship Id="rId16" Type="http://schemas.openxmlformats.org/officeDocument/2006/relationships/image" Target="../media/image18.svg"/><Relationship Id="rId29" Type="http://schemas.openxmlformats.org/officeDocument/2006/relationships/slide" Target="slide19.xml"/><Relationship Id="rId11" Type="http://schemas.openxmlformats.org/officeDocument/2006/relationships/image" Target="../media/image28.png"/><Relationship Id="rId24" Type="http://schemas.openxmlformats.org/officeDocument/2006/relationships/image" Target="../media/image35.svg"/><Relationship Id="rId32" Type="http://schemas.openxmlformats.org/officeDocument/2006/relationships/slide" Target="slide29.xml"/><Relationship Id="rId37" Type="http://schemas.openxmlformats.org/officeDocument/2006/relationships/image" Target="../media/image42.svg"/><Relationship Id="rId40" Type="http://schemas.openxmlformats.org/officeDocument/2006/relationships/image" Target="../media/image44.svg"/><Relationship Id="rId45" Type="http://schemas.openxmlformats.org/officeDocument/2006/relationships/image" Target="../media/image47.png"/><Relationship Id="rId53" Type="http://schemas.openxmlformats.org/officeDocument/2006/relationships/slide" Target="slide26.xml"/><Relationship Id="rId58" Type="http://schemas.openxmlformats.org/officeDocument/2006/relationships/image" Target="../media/image56.svg"/><Relationship Id="rId5" Type="http://schemas.openxmlformats.org/officeDocument/2006/relationships/image" Target="../media/image5.png"/><Relationship Id="rId61" Type="http://schemas.openxmlformats.org/officeDocument/2006/relationships/image" Target="../media/image58.svg"/><Relationship Id="rId19" Type="http://schemas.openxmlformats.org/officeDocument/2006/relationships/slide" Target="slide7.xml"/><Relationship Id="rId14" Type="http://schemas.openxmlformats.org/officeDocument/2006/relationships/image" Target="../media/image16.svg"/><Relationship Id="rId22" Type="http://schemas.openxmlformats.org/officeDocument/2006/relationships/slide" Target="slide6.xml"/><Relationship Id="rId27" Type="http://schemas.openxmlformats.org/officeDocument/2006/relationships/image" Target="../media/image31.png"/><Relationship Id="rId30" Type="http://schemas.openxmlformats.org/officeDocument/2006/relationships/image" Target="../media/image37.png"/><Relationship Id="rId35" Type="http://schemas.openxmlformats.org/officeDocument/2006/relationships/slide" Target="slide20.xml"/><Relationship Id="rId43" Type="http://schemas.openxmlformats.org/officeDocument/2006/relationships/image" Target="../media/image46.svg"/><Relationship Id="rId48" Type="http://schemas.openxmlformats.org/officeDocument/2006/relationships/image" Target="../media/image49.png"/><Relationship Id="rId56" Type="http://schemas.openxmlformats.org/officeDocument/2006/relationships/slide" Target="slide27.xml"/><Relationship Id="rId8" Type="http://schemas.openxmlformats.org/officeDocument/2006/relationships/image" Target="../media/image11.png"/><Relationship Id="rId51" Type="http://schemas.openxmlformats.org/officeDocument/2006/relationships/image" Target="../media/image51.png"/><Relationship Id="rId3" Type="http://schemas.openxmlformats.org/officeDocument/2006/relationships/image" Target="../media/image4.svg"/><Relationship Id="rId12" Type="http://schemas.openxmlformats.org/officeDocument/2006/relationships/image" Target="../media/image33.svg"/><Relationship Id="rId17" Type="http://schemas.openxmlformats.org/officeDocument/2006/relationships/image" Target="../media/image7.png"/><Relationship Id="rId25" Type="http://schemas.openxmlformats.org/officeDocument/2006/relationships/image" Target="../media/image13.png"/><Relationship Id="rId33" Type="http://schemas.openxmlformats.org/officeDocument/2006/relationships/image" Target="../media/image39.png"/><Relationship Id="rId38" Type="http://schemas.openxmlformats.org/officeDocument/2006/relationships/slide" Target="slide21.xml"/><Relationship Id="rId46" Type="http://schemas.openxmlformats.org/officeDocument/2006/relationships/image" Target="../media/image48.svg"/><Relationship Id="rId59" Type="http://schemas.openxmlformats.org/officeDocument/2006/relationships/slide" Target="slide28.xml"/><Relationship Id="rId20" Type="http://schemas.openxmlformats.org/officeDocument/2006/relationships/image" Target="../media/image9.png"/><Relationship Id="rId41" Type="http://schemas.openxmlformats.org/officeDocument/2006/relationships/slide" Target="slide22.xml"/><Relationship Id="rId54"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6.svg"/><Relationship Id="rId15" Type="http://schemas.openxmlformats.org/officeDocument/2006/relationships/image" Target="../media/image17.png"/><Relationship Id="rId23" Type="http://schemas.openxmlformats.org/officeDocument/2006/relationships/image" Target="../media/image19.png"/><Relationship Id="rId28" Type="http://schemas.openxmlformats.org/officeDocument/2006/relationships/image" Target="../media/image32.svg"/><Relationship Id="rId36" Type="http://schemas.openxmlformats.org/officeDocument/2006/relationships/image" Target="../media/image41.png"/><Relationship Id="rId49" Type="http://schemas.openxmlformats.org/officeDocument/2006/relationships/image" Target="../media/image50.svg"/><Relationship Id="rId57" Type="http://schemas.openxmlformats.org/officeDocument/2006/relationships/image" Target="../media/image55.png"/><Relationship Id="rId10" Type="http://schemas.openxmlformats.org/officeDocument/2006/relationships/slide" Target="slide3.xml"/><Relationship Id="rId31" Type="http://schemas.openxmlformats.org/officeDocument/2006/relationships/image" Target="../media/image38.svg"/><Relationship Id="rId44" Type="http://schemas.openxmlformats.org/officeDocument/2006/relationships/slide" Target="slide23.xml"/><Relationship Id="rId52" Type="http://schemas.openxmlformats.org/officeDocument/2006/relationships/image" Target="../media/image52.svg"/><Relationship Id="rId60" Type="http://schemas.openxmlformats.org/officeDocument/2006/relationships/image" Target="../media/image57.png"/><Relationship Id="rId4" Type="http://schemas.openxmlformats.org/officeDocument/2006/relationships/slide" Target="slide4.xml"/><Relationship Id="rId9" Type="http://schemas.openxmlformats.org/officeDocument/2006/relationships/image" Target="../media/image12.sv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slide" Target="slide32.xml"/><Relationship Id="rId18" Type="http://schemas.openxmlformats.org/officeDocument/2006/relationships/image" Target="../media/image11.png"/><Relationship Id="rId26" Type="http://schemas.openxmlformats.org/officeDocument/2006/relationships/image" Target="../media/image10.svg"/><Relationship Id="rId3" Type="http://schemas.openxmlformats.org/officeDocument/2006/relationships/slide" Target="slide4.xml"/><Relationship Id="rId21" Type="http://schemas.openxmlformats.org/officeDocument/2006/relationships/image" Target="../media/image18.svg"/><Relationship Id="rId7" Type="http://schemas.openxmlformats.org/officeDocument/2006/relationships/image" Target="../media/image60.svg"/><Relationship Id="rId12" Type="http://schemas.openxmlformats.org/officeDocument/2006/relationships/image" Target="../media/image36.svg"/><Relationship Id="rId17" Type="http://schemas.openxmlformats.org/officeDocument/2006/relationships/slide" Target="slide5.xml"/><Relationship Id="rId25" Type="http://schemas.openxmlformats.org/officeDocument/2006/relationships/image" Target="../media/image9.png"/><Relationship Id="rId2" Type="http://schemas.openxmlformats.org/officeDocument/2006/relationships/notesSlide" Target="../notesSlides/notesSlide7.xml"/><Relationship Id="rId16" Type="http://schemas.openxmlformats.org/officeDocument/2006/relationships/image" Target="../media/image24.svg"/><Relationship Id="rId20" Type="http://schemas.openxmlformats.org/officeDocument/2006/relationships/image" Target="../media/image17.png"/><Relationship Id="rId29" Type="http://schemas.openxmlformats.org/officeDocument/2006/relationships/image" Target="../media/image20.svg"/><Relationship Id="rId1" Type="http://schemas.openxmlformats.org/officeDocument/2006/relationships/slideLayout" Target="../slideLayouts/slideLayout7.xml"/><Relationship Id="rId6" Type="http://schemas.openxmlformats.org/officeDocument/2006/relationships/image" Target="../media/image59.png"/><Relationship Id="rId11" Type="http://schemas.openxmlformats.org/officeDocument/2006/relationships/image" Target="../media/image13.png"/><Relationship Id="rId24" Type="http://schemas.openxmlformats.org/officeDocument/2006/relationships/slide" Target="slide7.xml"/><Relationship Id="rId5" Type="http://schemas.openxmlformats.org/officeDocument/2006/relationships/image" Target="../media/image6.svg"/><Relationship Id="rId15" Type="http://schemas.openxmlformats.org/officeDocument/2006/relationships/image" Target="../media/image23.png"/><Relationship Id="rId23" Type="http://schemas.openxmlformats.org/officeDocument/2006/relationships/image" Target="../media/image8.svg"/><Relationship Id="rId28" Type="http://schemas.openxmlformats.org/officeDocument/2006/relationships/image" Target="../media/image19.png"/><Relationship Id="rId10" Type="http://schemas.openxmlformats.org/officeDocument/2006/relationships/slide" Target="slide8.xml"/><Relationship Id="rId19" Type="http://schemas.openxmlformats.org/officeDocument/2006/relationships/image" Target="../media/image12.svg"/><Relationship Id="rId31" Type="http://schemas.openxmlformats.org/officeDocument/2006/relationships/image" Target="../media/image22.svg"/><Relationship Id="rId4" Type="http://schemas.openxmlformats.org/officeDocument/2006/relationships/image" Target="../media/image5.png"/><Relationship Id="rId9" Type="http://schemas.openxmlformats.org/officeDocument/2006/relationships/image" Target="../media/image16.svg"/><Relationship Id="rId14" Type="http://schemas.openxmlformats.org/officeDocument/2006/relationships/slide" Target="slide34.xml"/><Relationship Id="rId22" Type="http://schemas.openxmlformats.org/officeDocument/2006/relationships/image" Target="../media/image7.png"/><Relationship Id="rId27" Type="http://schemas.openxmlformats.org/officeDocument/2006/relationships/slide" Target="slide6.xml"/><Relationship Id="rId30"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9.png"/><Relationship Id="rId18" Type="http://schemas.openxmlformats.org/officeDocument/2006/relationships/image" Target="../media/image21.png"/><Relationship Id="rId26" Type="http://schemas.openxmlformats.org/officeDocument/2006/relationships/image" Target="../media/image13.png"/><Relationship Id="rId3" Type="http://schemas.openxmlformats.org/officeDocument/2006/relationships/image" Target="../media/image23.png"/><Relationship Id="rId21" Type="http://schemas.openxmlformats.org/officeDocument/2006/relationships/image" Target="../media/image60.svg"/><Relationship Id="rId7" Type="http://schemas.openxmlformats.org/officeDocument/2006/relationships/image" Target="../media/image12.svg"/><Relationship Id="rId12" Type="http://schemas.openxmlformats.org/officeDocument/2006/relationships/slide" Target="slide7.xml"/><Relationship Id="rId17" Type="http://schemas.openxmlformats.org/officeDocument/2006/relationships/image" Target="../media/image20.svg"/><Relationship Id="rId25" Type="http://schemas.openxmlformats.org/officeDocument/2006/relationships/image" Target="../media/image63.png"/><Relationship Id="rId2" Type="http://schemas.openxmlformats.org/officeDocument/2006/relationships/notesSlide" Target="../notesSlides/notesSlide8.xml"/><Relationship Id="rId16" Type="http://schemas.openxmlformats.org/officeDocument/2006/relationships/image" Target="../media/image19.png"/><Relationship Id="rId20" Type="http://schemas.openxmlformats.org/officeDocument/2006/relationships/image" Target="../media/image59.png"/><Relationship Id="rId1" Type="http://schemas.openxmlformats.org/officeDocument/2006/relationships/slideLayout" Target="../slideLayouts/slideLayout7.xml"/><Relationship Id="rId6" Type="http://schemas.openxmlformats.org/officeDocument/2006/relationships/image" Target="../media/image11.png"/><Relationship Id="rId11" Type="http://schemas.openxmlformats.org/officeDocument/2006/relationships/image" Target="../media/image8.svg"/><Relationship Id="rId24" Type="http://schemas.openxmlformats.org/officeDocument/2006/relationships/image" Target="../media/image62.svg"/><Relationship Id="rId5" Type="http://schemas.openxmlformats.org/officeDocument/2006/relationships/slide" Target="slide5.xml"/><Relationship Id="rId15" Type="http://schemas.openxmlformats.org/officeDocument/2006/relationships/slide" Target="slide6.xml"/><Relationship Id="rId23" Type="http://schemas.openxmlformats.org/officeDocument/2006/relationships/image" Target="../media/image61.png"/><Relationship Id="rId10" Type="http://schemas.openxmlformats.org/officeDocument/2006/relationships/image" Target="../media/image7.png"/><Relationship Id="rId19" Type="http://schemas.openxmlformats.org/officeDocument/2006/relationships/image" Target="../media/image22.svg"/><Relationship Id="rId4" Type="http://schemas.openxmlformats.org/officeDocument/2006/relationships/image" Target="../media/image24.svg"/><Relationship Id="rId9" Type="http://schemas.openxmlformats.org/officeDocument/2006/relationships/image" Target="../media/image18.svg"/><Relationship Id="rId14" Type="http://schemas.openxmlformats.org/officeDocument/2006/relationships/image" Target="../media/image10.svg"/><Relationship Id="rId22" Type="http://schemas.openxmlformats.org/officeDocument/2006/relationships/slide" Target="slide8.xml"/><Relationship Id="rId27" Type="http://schemas.openxmlformats.org/officeDocument/2006/relationships/image" Target="../media/image36.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13232"/>
        </a:solidFill>
        <a:effectLst/>
      </p:bgPr>
    </p:bg>
    <p:spTree>
      <p:nvGrpSpPr>
        <p:cNvPr id="1" name=""/>
        <p:cNvGrpSpPr/>
        <p:nvPr/>
      </p:nvGrpSpPr>
      <p:grpSpPr>
        <a:xfrm>
          <a:off x="0" y="0"/>
          <a:ext cx="0" cy="0"/>
          <a:chOff x="0" y="0"/>
          <a:chExt cx="0" cy="0"/>
        </a:xfrm>
      </p:grpSpPr>
      <p:grpSp>
        <p:nvGrpSpPr>
          <p:cNvPr id="8" name="GRID 18 x 12" hidden="1">
            <a:extLst>
              <a:ext uri="{FF2B5EF4-FFF2-40B4-BE49-F238E27FC236}">
                <a16:creationId xmlns:a16="http://schemas.microsoft.com/office/drawing/2014/main" id="{9133B822-B4CE-35ED-815D-103606A59E21}"/>
              </a:ext>
            </a:extLst>
          </p:cNvPr>
          <p:cNvGrpSpPr>
            <a:grpSpLocks noGrp="1" noUngrp="1" noRot="1" noMove="1" noResize="1"/>
          </p:cNvGrpSpPr>
          <p:nvPr/>
        </p:nvGrpSpPr>
        <p:grpSpPr>
          <a:xfrm>
            <a:off x="0" y="0"/>
            <a:ext cx="12192000" cy="6858000"/>
            <a:chOff x="0" y="0"/>
            <a:chExt cx="12192000" cy="6858000"/>
          </a:xfrm>
        </p:grpSpPr>
        <p:grpSp>
          <p:nvGrpSpPr>
            <p:cNvPr id="10" name="Rows 12">
              <a:extLst>
                <a:ext uri="{FF2B5EF4-FFF2-40B4-BE49-F238E27FC236}">
                  <a16:creationId xmlns:a16="http://schemas.microsoft.com/office/drawing/2014/main" id="{6A97ABEE-6005-4707-D791-A6E54DAB597F}"/>
                </a:ext>
              </a:extLst>
            </p:cNvPr>
            <p:cNvGrpSpPr>
              <a:grpSpLocks noGrp="1" noUngrp="1" noRot="1" noMove="1" noResize="1"/>
            </p:cNvGrpSpPr>
            <p:nvPr/>
          </p:nvGrpSpPr>
          <p:grpSpPr>
            <a:xfrm>
              <a:off x="0" y="0"/>
              <a:ext cx="12192000" cy="6858000"/>
              <a:chOff x="0" y="0"/>
              <a:chExt cx="12192000" cy="3766788"/>
            </a:xfrm>
          </p:grpSpPr>
          <p:sp>
            <p:nvSpPr>
              <p:cNvPr id="30" name="Rectangle 29">
                <a:extLst>
                  <a:ext uri="{FF2B5EF4-FFF2-40B4-BE49-F238E27FC236}">
                    <a16:creationId xmlns:a16="http://schemas.microsoft.com/office/drawing/2014/main" id="{A7FABFE5-D7CB-868F-6488-4B5FD97948CD}"/>
                  </a:ext>
                </a:extLst>
              </p:cNvPr>
              <p:cNvSpPr>
                <a:spLocks noGrp="1" noRot="1" noMove="1" noResize="1" noEditPoints="1" noAdjustHandles="1" noChangeArrowheads="1" noChangeShapeType="1"/>
              </p:cNvSpPr>
              <p:nvPr/>
            </p:nvSpPr>
            <p:spPr>
              <a:xfrm>
                <a:off x="0" y="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E65C6606-6BD4-2263-7F42-70DEC36CEAAB}"/>
                  </a:ext>
                </a:extLst>
              </p:cNvPr>
              <p:cNvSpPr>
                <a:spLocks noGrp="1" noRot="1" noMove="1" noResize="1" noEditPoints="1" noAdjustHandles="1" noChangeArrowheads="1" noChangeShapeType="1"/>
              </p:cNvSpPr>
              <p:nvPr/>
            </p:nvSpPr>
            <p:spPr>
              <a:xfrm>
                <a:off x="0" y="31389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EE5C2AFF-FB4A-0617-B0DF-57905C2B2294}"/>
                  </a:ext>
                </a:extLst>
              </p:cNvPr>
              <p:cNvSpPr>
                <a:spLocks noGrp="1" noRot="1" noMove="1" noResize="1" noEditPoints="1" noAdjustHandles="1" noChangeArrowheads="1" noChangeShapeType="1"/>
              </p:cNvSpPr>
              <p:nvPr/>
            </p:nvSpPr>
            <p:spPr>
              <a:xfrm>
                <a:off x="0" y="627798"/>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3975C841-FBF3-5AF2-62AD-6D9EED6BF729}"/>
                  </a:ext>
                </a:extLst>
              </p:cNvPr>
              <p:cNvSpPr>
                <a:spLocks noGrp="1" noRot="1" noMove="1" noResize="1" noEditPoints="1" noAdjustHandles="1" noChangeArrowheads="1" noChangeShapeType="1"/>
              </p:cNvSpPr>
              <p:nvPr/>
            </p:nvSpPr>
            <p:spPr>
              <a:xfrm>
                <a:off x="0" y="941697"/>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B25D74DB-0899-DC2E-F1AE-56B17D34CCEE}"/>
                  </a:ext>
                </a:extLst>
              </p:cNvPr>
              <p:cNvSpPr>
                <a:spLocks noGrp="1" noRot="1" noMove="1" noResize="1" noEditPoints="1" noAdjustHandles="1" noChangeArrowheads="1" noChangeShapeType="1"/>
              </p:cNvSpPr>
              <p:nvPr/>
            </p:nvSpPr>
            <p:spPr>
              <a:xfrm>
                <a:off x="0" y="1255596"/>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B76AC144-D99E-0F2D-0D95-CBACF7942B12}"/>
                  </a:ext>
                </a:extLst>
              </p:cNvPr>
              <p:cNvSpPr>
                <a:spLocks noGrp="1" noRot="1" noMove="1" noResize="1" noEditPoints="1" noAdjustHandles="1" noChangeArrowheads="1" noChangeShapeType="1"/>
              </p:cNvSpPr>
              <p:nvPr/>
            </p:nvSpPr>
            <p:spPr>
              <a:xfrm>
                <a:off x="0" y="1569495"/>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C5962C92-D03B-D375-7B84-927BD2BBC53E}"/>
                  </a:ext>
                </a:extLst>
              </p:cNvPr>
              <p:cNvSpPr>
                <a:spLocks noGrp="1" noRot="1" noMove="1" noResize="1" noEditPoints="1" noAdjustHandles="1" noChangeArrowheads="1" noChangeShapeType="1"/>
              </p:cNvSpPr>
              <p:nvPr/>
            </p:nvSpPr>
            <p:spPr>
              <a:xfrm>
                <a:off x="0" y="1883394"/>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AAA4912E-6344-8D8C-D618-E3E3E992964E}"/>
                  </a:ext>
                </a:extLst>
              </p:cNvPr>
              <p:cNvSpPr>
                <a:spLocks noGrp="1" noRot="1" noMove="1" noResize="1" noEditPoints="1" noAdjustHandles="1" noChangeArrowheads="1" noChangeShapeType="1"/>
              </p:cNvSpPr>
              <p:nvPr/>
            </p:nvSpPr>
            <p:spPr>
              <a:xfrm>
                <a:off x="0" y="2197293"/>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B55EF18A-1576-DBDA-17A0-F107D31E5E75}"/>
                  </a:ext>
                </a:extLst>
              </p:cNvPr>
              <p:cNvSpPr>
                <a:spLocks noGrp="1" noRot="1" noMove="1" noResize="1" noEditPoints="1" noAdjustHandles="1" noChangeArrowheads="1" noChangeShapeType="1"/>
              </p:cNvSpPr>
              <p:nvPr/>
            </p:nvSpPr>
            <p:spPr>
              <a:xfrm>
                <a:off x="0" y="2511192"/>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56D78BF-0050-4880-5C7C-D6BBA46A2C93}"/>
                  </a:ext>
                </a:extLst>
              </p:cNvPr>
              <p:cNvSpPr>
                <a:spLocks noGrp="1" noRot="1" noMove="1" noResize="1" noEditPoints="1" noAdjustHandles="1" noChangeArrowheads="1" noChangeShapeType="1"/>
              </p:cNvSpPr>
              <p:nvPr/>
            </p:nvSpPr>
            <p:spPr>
              <a:xfrm>
                <a:off x="0" y="2825091"/>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AB1F84C5-D8F8-BBD8-86BF-E59166039803}"/>
                  </a:ext>
                </a:extLst>
              </p:cNvPr>
              <p:cNvSpPr>
                <a:spLocks noGrp="1" noRot="1" noMove="1" noResize="1" noEditPoints="1" noAdjustHandles="1" noChangeArrowheads="1" noChangeShapeType="1"/>
              </p:cNvSpPr>
              <p:nvPr/>
            </p:nvSpPr>
            <p:spPr>
              <a:xfrm>
                <a:off x="0" y="313899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C762B63-0238-F599-127D-CD0711F18791}"/>
                  </a:ext>
                </a:extLst>
              </p:cNvPr>
              <p:cNvSpPr>
                <a:spLocks noGrp="1" noRot="1" noMove="1" noResize="1" noEditPoints="1" noAdjustHandles="1" noChangeArrowheads="1" noChangeShapeType="1"/>
              </p:cNvSpPr>
              <p:nvPr/>
            </p:nvSpPr>
            <p:spPr>
              <a:xfrm>
                <a:off x="0" y="345288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1" name="Columns 18">
              <a:extLst>
                <a:ext uri="{FF2B5EF4-FFF2-40B4-BE49-F238E27FC236}">
                  <a16:creationId xmlns:a16="http://schemas.microsoft.com/office/drawing/2014/main" id="{4C4C969E-83CD-8FA1-5150-F2320A6FD841}"/>
                </a:ext>
              </a:extLst>
            </p:cNvPr>
            <p:cNvGrpSpPr>
              <a:grpSpLocks noGrp="1" noUngrp="1" noRot="1" noMove="1" noResize="1"/>
            </p:cNvGrpSpPr>
            <p:nvPr/>
          </p:nvGrpSpPr>
          <p:grpSpPr>
            <a:xfrm>
              <a:off x="0" y="0"/>
              <a:ext cx="12192000" cy="6858000"/>
              <a:chOff x="0" y="0"/>
              <a:chExt cx="5650182" cy="6858000"/>
            </a:xfrm>
          </p:grpSpPr>
          <p:sp>
            <p:nvSpPr>
              <p:cNvPr id="12" name="Rectangle 11">
                <a:extLst>
                  <a:ext uri="{FF2B5EF4-FFF2-40B4-BE49-F238E27FC236}">
                    <a16:creationId xmlns:a16="http://schemas.microsoft.com/office/drawing/2014/main" id="{27475249-B345-9E3C-C073-D4F3F2753DA9}"/>
                  </a:ext>
                </a:extLst>
              </p:cNvPr>
              <p:cNvSpPr>
                <a:spLocks noGrp="1" noRot="1" noMove="1" noResize="1" noEditPoints="1" noAdjustHandles="1" noChangeArrowheads="1" noChangeShapeType="1"/>
              </p:cNvSpPr>
              <p:nvPr/>
            </p:nvSpPr>
            <p:spPr>
              <a:xfrm>
                <a:off x="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3343572-EEE0-FAFE-9A50-4713EB7AE0BC}"/>
                  </a:ext>
                </a:extLst>
              </p:cNvPr>
              <p:cNvSpPr>
                <a:spLocks noGrp="1" noRot="1" noMove="1" noResize="1" noEditPoints="1" noAdjustHandles="1" noChangeArrowheads="1" noChangeShapeType="1"/>
              </p:cNvSpPr>
              <p:nvPr/>
            </p:nvSpPr>
            <p:spPr>
              <a:xfrm>
                <a:off x="31389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784C4CB-5E60-030F-C314-7783603F1609}"/>
                  </a:ext>
                </a:extLst>
              </p:cNvPr>
              <p:cNvSpPr>
                <a:spLocks noGrp="1" noRot="1" noMove="1" noResize="1" noEditPoints="1" noAdjustHandles="1" noChangeArrowheads="1" noChangeShapeType="1"/>
              </p:cNvSpPr>
              <p:nvPr/>
            </p:nvSpPr>
            <p:spPr>
              <a:xfrm>
                <a:off x="62779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BE6C650-F651-F977-F8C3-AD5EAAC7ECD1}"/>
                  </a:ext>
                </a:extLst>
              </p:cNvPr>
              <p:cNvSpPr>
                <a:spLocks noGrp="1" noRot="1" noMove="1" noResize="1" noEditPoints="1" noAdjustHandles="1" noChangeArrowheads="1" noChangeShapeType="1"/>
              </p:cNvSpPr>
              <p:nvPr/>
            </p:nvSpPr>
            <p:spPr>
              <a:xfrm>
                <a:off x="94169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F0079A4F-EAEB-6E56-5188-3F000965FEB5}"/>
                  </a:ext>
                </a:extLst>
              </p:cNvPr>
              <p:cNvSpPr>
                <a:spLocks noGrp="1" noRot="1" noMove="1" noResize="1" noEditPoints="1" noAdjustHandles="1" noChangeArrowheads="1" noChangeShapeType="1"/>
              </p:cNvSpPr>
              <p:nvPr/>
            </p:nvSpPr>
            <p:spPr>
              <a:xfrm>
                <a:off x="125559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B005368-A137-6FA8-5E16-00279951DBC4}"/>
                  </a:ext>
                </a:extLst>
              </p:cNvPr>
              <p:cNvSpPr>
                <a:spLocks noGrp="1" noRot="1" noMove="1" noResize="1" noEditPoints="1" noAdjustHandles="1" noChangeArrowheads="1" noChangeShapeType="1"/>
              </p:cNvSpPr>
              <p:nvPr/>
            </p:nvSpPr>
            <p:spPr>
              <a:xfrm>
                <a:off x="156949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4F33CE02-E6E5-614C-5130-A0CC28FBFDE3}"/>
                  </a:ext>
                </a:extLst>
              </p:cNvPr>
              <p:cNvSpPr>
                <a:spLocks noGrp="1" noRot="1" noMove="1" noResize="1" noEditPoints="1" noAdjustHandles="1" noChangeArrowheads="1" noChangeShapeType="1"/>
              </p:cNvSpPr>
              <p:nvPr/>
            </p:nvSpPr>
            <p:spPr>
              <a:xfrm>
                <a:off x="188339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3DB9542-4D15-C4CB-7E3C-72C194E8A245}"/>
                  </a:ext>
                </a:extLst>
              </p:cNvPr>
              <p:cNvSpPr>
                <a:spLocks noGrp="1" noRot="1" noMove="1" noResize="1" noEditPoints="1" noAdjustHandles="1" noChangeArrowheads="1" noChangeShapeType="1"/>
              </p:cNvSpPr>
              <p:nvPr/>
            </p:nvSpPr>
            <p:spPr>
              <a:xfrm>
                <a:off x="219729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2B614D8-B255-90DC-9C6B-43E5A47F9BFF}"/>
                  </a:ext>
                </a:extLst>
              </p:cNvPr>
              <p:cNvSpPr>
                <a:spLocks noGrp="1" noRot="1" noMove="1" noResize="1" noEditPoints="1" noAdjustHandles="1" noChangeArrowheads="1" noChangeShapeType="1"/>
              </p:cNvSpPr>
              <p:nvPr/>
            </p:nvSpPr>
            <p:spPr>
              <a:xfrm>
                <a:off x="2511192"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628AD48-ECF1-646E-13CE-8E7D78E4F9F2}"/>
                  </a:ext>
                </a:extLst>
              </p:cNvPr>
              <p:cNvSpPr>
                <a:spLocks noGrp="1" noRot="1" noMove="1" noResize="1" noEditPoints="1" noAdjustHandles="1" noChangeArrowheads="1" noChangeShapeType="1"/>
              </p:cNvSpPr>
              <p:nvPr/>
            </p:nvSpPr>
            <p:spPr>
              <a:xfrm>
                <a:off x="2825091"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4735D7A6-F82C-E34B-97F9-BC4257A46CAB}"/>
                  </a:ext>
                </a:extLst>
              </p:cNvPr>
              <p:cNvSpPr>
                <a:spLocks noGrp="1" noRot="1" noMove="1" noResize="1" noEditPoints="1" noAdjustHandles="1" noChangeArrowheads="1" noChangeShapeType="1"/>
              </p:cNvSpPr>
              <p:nvPr/>
            </p:nvSpPr>
            <p:spPr>
              <a:xfrm>
                <a:off x="313899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F47C862E-08F9-BD41-9CA5-77C81455EC16}"/>
                  </a:ext>
                </a:extLst>
              </p:cNvPr>
              <p:cNvSpPr>
                <a:spLocks noGrp="1" noRot="1" noMove="1" noResize="1" noEditPoints="1" noAdjustHandles="1" noChangeArrowheads="1" noChangeShapeType="1"/>
              </p:cNvSpPr>
              <p:nvPr/>
            </p:nvSpPr>
            <p:spPr>
              <a:xfrm>
                <a:off x="345288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41BE9779-8D07-0164-82B8-B0099F242C7B}"/>
                  </a:ext>
                </a:extLst>
              </p:cNvPr>
              <p:cNvSpPr>
                <a:spLocks noGrp="1" noRot="1" noMove="1" noResize="1" noEditPoints="1" noAdjustHandles="1" noChangeArrowheads="1" noChangeShapeType="1"/>
              </p:cNvSpPr>
              <p:nvPr/>
            </p:nvSpPr>
            <p:spPr>
              <a:xfrm>
                <a:off x="376678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1607E658-EDF7-D2F9-8828-B8CDC6431106}"/>
                  </a:ext>
                </a:extLst>
              </p:cNvPr>
              <p:cNvSpPr>
                <a:spLocks noGrp="1" noRot="1" noMove="1" noResize="1" noEditPoints="1" noAdjustHandles="1" noChangeArrowheads="1" noChangeShapeType="1"/>
              </p:cNvSpPr>
              <p:nvPr/>
            </p:nvSpPr>
            <p:spPr>
              <a:xfrm>
                <a:off x="408068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A4F78-F245-05B4-1699-763C4102681E}"/>
                  </a:ext>
                </a:extLst>
              </p:cNvPr>
              <p:cNvSpPr>
                <a:spLocks noGrp="1" noRot="1" noMove="1" noResize="1" noEditPoints="1" noAdjustHandles="1" noChangeArrowheads="1" noChangeShapeType="1"/>
              </p:cNvSpPr>
              <p:nvPr/>
            </p:nvSpPr>
            <p:spPr>
              <a:xfrm>
                <a:off x="439458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AFAFCEE1-4444-BB7E-1428-28EA71EA0A40}"/>
                  </a:ext>
                </a:extLst>
              </p:cNvPr>
              <p:cNvSpPr>
                <a:spLocks noGrp="1" noRot="1" noMove="1" noResize="1" noEditPoints="1" noAdjustHandles="1" noChangeArrowheads="1" noChangeShapeType="1"/>
              </p:cNvSpPr>
              <p:nvPr/>
            </p:nvSpPr>
            <p:spPr>
              <a:xfrm>
                <a:off x="470848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0D4A6FE3-651B-1DB2-DB69-6CE9A5C4A0C9}"/>
                  </a:ext>
                </a:extLst>
              </p:cNvPr>
              <p:cNvSpPr>
                <a:spLocks noGrp="1" noRot="1" noMove="1" noResize="1" noEditPoints="1" noAdjustHandles="1" noChangeArrowheads="1" noChangeShapeType="1"/>
              </p:cNvSpPr>
              <p:nvPr/>
            </p:nvSpPr>
            <p:spPr>
              <a:xfrm>
                <a:off x="502238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35C4B27D-E0B4-D84B-1E2F-DDA0C100F89C}"/>
                  </a:ext>
                </a:extLst>
              </p:cNvPr>
              <p:cNvSpPr>
                <a:spLocks noGrp="1" noRot="1" noMove="1" noResize="1" noEditPoints="1" noAdjustHandles="1" noChangeArrowheads="1" noChangeShapeType="1"/>
              </p:cNvSpPr>
              <p:nvPr/>
            </p:nvSpPr>
            <p:spPr>
              <a:xfrm>
                <a:off x="533628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2" name="Subtitle">
            <a:extLst>
              <a:ext uri="{FF2B5EF4-FFF2-40B4-BE49-F238E27FC236}">
                <a16:creationId xmlns:a16="http://schemas.microsoft.com/office/drawing/2014/main" id="{23876867-EBCE-4B12-F515-A4AA93CFAEB0}"/>
              </a:ext>
            </a:extLst>
          </p:cNvPr>
          <p:cNvSpPr txBox="1"/>
          <p:nvPr/>
        </p:nvSpPr>
        <p:spPr>
          <a:xfrm>
            <a:off x="1361531" y="4109690"/>
            <a:ext cx="3924037" cy="398827"/>
          </a:xfrm>
          <a:prstGeom prst="rect">
            <a:avLst/>
          </a:prstGeom>
          <a:noFill/>
        </p:spPr>
        <p:txBody>
          <a:bodyPr wrap="square" lIns="0" rtlCol="0">
            <a:spAutoFit/>
          </a:bodyPr>
          <a:lstStyle>
            <a:defPPr>
              <a:defRPr lang="en-LT"/>
            </a:defPPr>
            <a:lvl1pPr>
              <a:lnSpc>
                <a:spcPct val="80000"/>
              </a:lnSpc>
              <a:defRPr sz="5000" b="1" spc="300">
                <a:gradFill flip="none" rotWithShape="1">
                  <a:gsLst>
                    <a:gs pos="0">
                      <a:schemeClr val="accent5"/>
                    </a:gs>
                    <a:gs pos="41000">
                      <a:schemeClr val="accent2"/>
                    </a:gs>
                    <a:gs pos="85000">
                      <a:schemeClr val="accent3"/>
                    </a:gs>
                  </a:gsLst>
                  <a:lin ang="0" scaled="1"/>
                  <a:tileRect/>
                </a:gradFill>
                <a:latin typeface="Nunito Sans ExtraBold" pitchFamily="2" charset="77"/>
                <a:ea typeface="Open Sans Extrabold" panose="020B0606030504020204" pitchFamily="34" charset="0"/>
                <a:cs typeface="Open Sans Extrabold" panose="020B0606030504020204" pitchFamily="34" charset="0"/>
              </a:defRPr>
            </a:lvl1pPr>
          </a:lstStyle>
          <a:p>
            <a:pPr lvl="0">
              <a:lnSpc>
                <a:spcPct val="150000"/>
              </a:lnSpc>
              <a:defRPr/>
            </a:pP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Git  créé par Linus </a:t>
            </a:r>
            <a:r>
              <a:rPr lang="fr-FR" sz="700" b="0" spc="110" dirty="0" err="1">
                <a:solidFill>
                  <a:srgbClr val="FFFFFF"/>
                </a:solidFill>
                <a:latin typeface="Michroma" pitchFamily="2" charset="0"/>
                <a:ea typeface="Roboto" panose="02000000000000000000" pitchFamily="2" charset="0"/>
                <a:cs typeface="Urbanist Light" panose="020B0A04040200000203" pitchFamily="34" charset="77"/>
              </a:rPr>
              <a:t>Torvalds</a:t>
            </a: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 en 2005, tandis que GitHub  créée en 2008 par Tom Preston-Werner, Chris </a:t>
            </a:r>
            <a:r>
              <a:rPr lang="fr-FR" sz="700" b="0" spc="110" dirty="0" err="1">
                <a:solidFill>
                  <a:srgbClr val="FFFFFF"/>
                </a:solidFill>
                <a:latin typeface="Michroma" pitchFamily="2" charset="0"/>
                <a:ea typeface="Roboto" panose="02000000000000000000" pitchFamily="2" charset="0"/>
                <a:cs typeface="Urbanist Light" panose="020B0A04040200000203" pitchFamily="34" charset="77"/>
              </a:rPr>
              <a:t>Wanstrath</a:t>
            </a: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 et PJ </a:t>
            </a:r>
            <a:r>
              <a:rPr lang="fr-FR" sz="700" b="0" spc="110" dirty="0" err="1">
                <a:solidFill>
                  <a:srgbClr val="FFFFFF"/>
                </a:solidFill>
                <a:latin typeface="Michroma" pitchFamily="2" charset="0"/>
                <a:ea typeface="Roboto" panose="02000000000000000000" pitchFamily="2" charset="0"/>
                <a:cs typeface="Urbanist Light" panose="020B0A04040200000203" pitchFamily="34" charset="77"/>
              </a:rPr>
              <a:t>Hyett</a:t>
            </a: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a:t>
            </a:r>
            <a:endParaRPr kumimoji="0" lang="en-LT" sz="700" b="0" i="0" u="none" strike="noStrike" kern="1200" cap="none" spc="110" normalizeH="0" baseline="0" noProof="0" dirty="0">
              <a:ln>
                <a:noFill/>
              </a:ln>
              <a:solidFill>
                <a:srgbClr val="FFFFFF"/>
              </a:solidFill>
              <a:effectLst/>
              <a:uLnTx/>
              <a:uFillTx/>
              <a:latin typeface="Michroma" pitchFamily="2" charset="0"/>
              <a:ea typeface="Roboto" panose="02000000000000000000" pitchFamily="2" charset="0"/>
              <a:cs typeface="Urbanist Light" panose="020B0A04040200000203" pitchFamily="34" charset="77"/>
            </a:endParaRPr>
          </a:p>
        </p:txBody>
      </p:sp>
      <p:sp>
        <p:nvSpPr>
          <p:cNvPr id="6" name="TextBox 5">
            <a:extLst>
              <a:ext uri="{FF2B5EF4-FFF2-40B4-BE49-F238E27FC236}">
                <a16:creationId xmlns:a16="http://schemas.microsoft.com/office/drawing/2014/main" id="{EFAFB9F4-A6A4-97B8-121D-7E8821901E5E}"/>
              </a:ext>
            </a:extLst>
          </p:cNvPr>
          <p:cNvSpPr txBox="1"/>
          <p:nvPr/>
        </p:nvSpPr>
        <p:spPr>
          <a:xfrm>
            <a:off x="373088" y="1649430"/>
            <a:ext cx="522104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Présentation sur</a:t>
            </a:r>
            <a:endParaRPr kumimoji="0" lang="en-GB"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9" name="TextBox 8">
            <a:extLst>
              <a:ext uri="{FF2B5EF4-FFF2-40B4-BE49-F238E27FC236}">
                <a16:creationId xmlns:a16="http://schemas.microsoft.com/office/drawing/2014/main" id="{2DC2E937-F8BA-39F2-B1A5-9F8CA8A075C8}"/>
              </a:ext>
            </a:extLst>
          </p:cNvPr>
          <p:cNvSpPr txBox="1"/>
          <p:nvPr/>
        </p:nvSpPr>
        <p:spPr>
          <a:xfrm>
            <a:off x="1347451" y="3082748"/>
            <a:ext cx="3723776"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Git &amp; </a:t>
            </a:r>
            <a:r>
              <a:rPr kumimoji="0" lang="fr-FR" sz="4800" b="1" i="0" u="none" strike="noStrike" kern="1200" cap="all" spc="100" normalizeH="0" baseline="0" noProof="0" dirty="0" err="1">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github</a:t>
            </a:r>
            <a:endParaRPr kumimoji="0" lang="en-GB"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grpSp>
        <p:nvGrpSpPr>
          <p:cNvPr id="3" name="Group 2">
            <a:extLst>
              <a:ext uri="{FF2B5EF4-FFF2-40B4-BE49-F238E27FC236}">
                <a16:creationId xmlns:a16="http://schemas.microsoft.com/office/drawing/2014/main" id="{5B633149-4C0B-23E9-6AA8-9DFC20662C58}"/>
              </a:ext>
            </a:extLst>
          </p:cNvPr>
          <p:cNvGrpSpPr/>
          <p:nvPr/>
        </p:nvGrpSpPr>
        <p:grpSpPr>
          <a:xfrm>
            <a:off x="6434339" y="1112467"/>
            <a:ext cx="3916800" cy="4887438"/>
            <a:chOff x="6985210" y="1117694"/>
            <a:chExt cx="3916181" cy="4887438"/>
          </a:xfrm>
        </p:grpSpPr>
        <p:sp useBgFill="1">
          <p:nvSpPr>
            <p:cNvPr id="51" name="Snip Diagonal Corner of Rectangle 23">
              <a:extLst>
                <a:ext uri="{FF2B5EF4-FFF2-40B4-BE49-F238E27FC236}">
                  <a16:creationId xmlns:a16="http://schemas.microsoft.com/office/drawing/2014/main" id="{2F82A2E2-AD6F-8E7D-5125-ED1798CF87C9}"/>
                </a:ext>
              </a:extLst>
            </p:cNvPr>
            <p:cNvSpPr>
              <a:spLocks/>
            </p:cNvSpPr>
            <p:nvPr/>
          </p:nvSpPr>
          <p:spPr>
            <a:xfrm>
              <a:off x="7111999" y="1248953"/>
              <a:ext cx="3669347" cy="4625527"/>
            </a:xfrm>
            <a:prstGeom prst="snip2DiagRect">
              <a:avLst>
                <a:gd name="adj1" fmla="val 0"/>
                <a:gd name="adj2" fmla="val 10391"/>
              </a:avLst>
            </a:prstGeom>
            <a:ln w="12700" cap="flat">
              <a:solidFill>
                <a:schemeClr val="accent3"/>
              </a:solidFill>
              <a:prstDash val="solid"/>
              <a:miter/>
            </a:ln>
            <a:effectLst>
              <a:outerShdw blurRad="1270000" sx="102000" sy="102000" algn="ctr" rotWithShape="0">
                <a:srgbClr val="00F1FF">
                  <a:alpha val="51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pic>
          <p:nvPicPr>
            <p:cNvPr id="1065" name="Picture 1064">
              <a:extLst>
                <a:ext uri="{FF2B5EF4-FFF2-40B4-BE49-F238E27FC236}">
                  <a16:creationId xmlns:a16="http://schemas.microsoft.com/office/drawing/2014/main" id="{3AD5D52F-2DB5-9DF5-7B98-5EE5B00B230C}"/>
                </a:ext>
              </a:extLst>
            </p:cNvPr>
            <p:cNvPicPr>
              <a:picLocks noChangeAspect="1"/>
            </p:cNvPicPr>
            <p:nvPr/>
          </p:nvPicPr>
          <p:blipFill rotWithShape="1">
            <a:blip r:embed="rId5"/>
            <a:srcRect l="-11195" t="-22591" r="-11195" b="-22591"/>
            <a:stretch/>
          </p:blipFill>
          <p:spPr>
            <a:xfrm>
              <a:off x="7104583" y="1248953"/>
              <a:ext cx="3669347" cy="4625527"/>
            </a:xfrm>
            <a:prstGeom prst="snip2DiagRect">
              <a:avLst>
                <a:gd name="adj1" fmla="val 0"/>
                <a:gd name="adj2" fmla="val 10761"/>
              </a:avLst>
            </a:prstGeom>
            <a:solidFill>
              <a:schemeClr val="bg2">
                <a:lumMod val="50000"/>
              </a:schemeClr>
            </a:solidFill>
            <a:ln w="12700" cap="flat">
              <a:solidFill>
                <a:schemeClr val="accent3"/>
              </a:solidFill>
              <a:prstDash val="solid"/>
              <a:miter/>
            </a:ln>
            <a:effectLst>
              <a:innerShdw blurRad="927100">
                <a:srgbClr val="00F1FF"/>
              </a:innerShdw>
            </a:effectLst>
          </p:spPr>
        </p:pic>
        <p:sp>
          <p:nvSpPr>
            <p:cNvPr id="1045" name="Half Frame 1044">
              <a:extLst>
                <a:ext uri="{FF2B5EF4-FFF2-40B4-BE49-F238E27FC236}">
                  <a16:creationId xmlns:a16="http://schemas.microsoft.com/office/drawing/2014/main" id="{D68E2BE7-D1E0-886B-9470-E88B41F359EA}"/>
                </a:ext>
              </a:extLst>
            </p:cNvPr>
            <p:cNvSpPr/>
            <p:nvPr/>
          </p:nvSpPr>
          <p:spPr>
            <a:xfrm rot="10800000">
              <a:off x="10428932" y="5536186"/>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42" name="Parallelogram 41">
              <a:extLst>
                <a:ext uri="{FF2B5EF4-FFF2-40B4-BE49-F238E27FC236}">
                  <a16:creationId xmlns:a16="http://schemas.microsoft.com/office/drawing/2014/main" id="{DB7E0A90-DD5C-33BC-5D22-988B0150AADF}"/>
                </a:ext>
              </a:extLst>
            </p:cNvPr>
            <p:cNvSpPr/>
            <p:nvPr/>
          </p:nvSpPr>
          <p:spPr>
            <a:xfrm rot="16200000" flipV="1">
              <a:off x="10665185" y="5318065"/>
              <a:ext cx="397225"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nvGrpSpPr>
            <p:cNvPr id="56" name="Group 55">
              <a:extLst>
                <a:ext uri="{FF2B5EF4-FFF2-40B4-BE49-F238E27FC236}">
                  <a16:creationId xmlns:a16="http://schemas.microsoft.com/office/drawing/2014/main" id="{AA0C6553-B255-7DD9-BC05-80D4A49E8901}"/>
                </a:ext>
              </a:extLst>
            </p:cNvPr>
            <p:cNvGrpSpPr/>
            <p:nvPr/>
          </p:nvGrpSpPr>
          <p:grpSpPr>
            <a:xfrm rot="10800000">
              <a:off x="6985210" y="1117694"/>
              <a:ext cx="472459" cy="1084397"/>
              <a:chOff x="10415386" y="4907189"/>
              <a:chExt cx="472459" cy="1084397"/>
            </a:xfrm>
          </p:grpSpPr>
          <p:sp>
            <p:nvSpPr>
              <p:cNvPr id="57" name="Half Frame 56">
                <a:extLst>
                  <a:ext uri="{FF2B5EF4-FFF2-40B4-BE49-F238E27FC236}">
                    <a16:creationId xmlns:a16="http://schemas.microsoft.com/office/drawing/2014/main" id="{0DB41B95-17FA-55FD-5E3E-43887B3EABB9}"/>
                  </a:ext>
                </a:extLst>
              </p:cNvPr>
              <p:cNvSpPr/>
              <p:nvPr/>
            </p:nvSpPr>
            <p:spPr>
              <a:xfrm rot="10800000">
                <a:off x="10415386" y="5522640"/>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58" name="Parallelogram 57">
                <a:extLst>
                  <a:ext uri="{FF2B5EF4-FFF2-40B4-BE49-F238E27FC236}">
                    <a16:creationId xmlns:a16="http://schemas.microsoft.com/office/drawing/2014/main" id="{669488F6-384A-1182-9542-374FC2DB5A8B}"/>
                  </a:ext>
                </a:extLst>
              </p:cNvPr>
              <p:cNvSpPr/>
              <p:nvPr/>
            </p:nvSpPr>
            <p:spPr>
              <a:xfrm rot="16200000" flipV="1">
                <a:off x="10536721" y="5183127"/>
                <a:ext cx="627062"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62" name="Group 61">
              <a:extLst>
                <a:ext uri="{FF2B5EF4-FFF2-40B4-BE49-F238E27FC236}">
                  <a16:creationId xmlns:a16="http://schemas.microsoft.com/office/drawing/2014/main" id="{8DE6C31B-4034-2271-FB4F-E31C2EA518E2}"/>
                </a:ext>
              </a:extLst>
            </p:cNvPr>
            <p:cNvGrpSpPr/>
            <p:nvPr/>
          </p:nvGrpSpPr>
          <p:grpSpPr>
            <a:xfrm>
              <a:off x="7140579" y="5508461"/>
              <a:ext cx="243602" cy="457736"/>
              <a:chOff x="7151677" y="5506798"/>
              <a:chExt cx="243602" cy="457736"/>
            </a:xfrm>
          </p:grpSpPr>
          <p:sp>
            <p:nvSpPr>
              <p:cNvPr id="47" name="Parallelogram 46">
                <a:extLst>
                  <a:ext uri="{FF2B5EF4-FFF2-40B4-BE49-F238E27FC236}">
                    <a16:creationId xmlns:a16="http://schemas.microsoft.com/office/drawing/2014/main" id="{CFF0A099-B2C5-D300-9D31-2BA9F6A27A2B}"/>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61" name="Freeform: Shape 60">
                <a:extLst>
                  <a:ext uri="{FF2B5EF4-FFF2-40B4-BE49-F238E27FC236}">
                    <a16:creationId xmlns:a16="http://schemas.microsoft.com/office/drawing/2014/main" id="{0C44ECD9-96E7-DEA9-81FB-0106A7307C8B}"/>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63" name="Group 62">
              <a:extLst>
                <a:ext uri="{FF2B5EF4-FFF2-40B4-BE49-F238E27FC236}">
                  <a16:creationId xmlns:a16="http://schemas.microsoft.com/office/drawing/2014/main" id="{1666F88C-E9C6-61F8-630D-C5BE404E2093}"/>
                </a:ext>
              </a:extLst>
            </p:cNvPr>
            <p:cNvGrpSpPr/>
            <p:nvPr/>
          </p:nvGrpSpPr>
          <p:grpSpPr>
            <a:xfrm rot="10800000">
              <a:off x="10526616" y="1145063"/>
              <a:ext cx="243602" cy="457736"/>
              <a:chOff x="7151677" y="5506798"/>
              <a:chExt cx="243602" cy="457736"/>
            </a:xfrm>
          </p:grpSpPr>
          <p:sp>
            <p:nvSpPr>
              <p:cNvPr id="1024" name="Parallelogram 1023">
                <a:extLst>
                  <a:ext uri="{FF2B5EF4-FFF2-40B4-BE49-F238E27FC236}">
                    <a16:creationId xmlns:a16="http://schemas.microsoft.com/office/drawing/2014/main" id="{2DEE5223-908C-FC26-091E-9CBB6A1A0224}"/>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25" name="Freeform: Shape 1024">
                <a:extLst>
                  <a:ext uri="{FF2B5EF4-FFF2-40B4-BE49-F238E27FC236}">
                    <a16:creationId xmlns:a16="http://schemas.microsoft.com/office/drawing/2014/main" id="{E5F4E7DF-A2E2-2D7A-C915-D0CB43A78E60}"/>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sp>
        <p:nvSpPr>
          <p:cNvPr id="48" name="Subtitle">
            <a:extLst>
              <a:ext uri="{FF2B5EF4-FFF2-40B4-BE49-F238E27FC236}">
                <a16:creationId xmlns:a16="http://schemas.microsoft.com/office/drawing/2014/main" id="{0F267CBB-AC56-410E-FD4A-8530F7FAD7BD}"/>
              </a:ext>
            </a:extLst>
          </p:cNvPr>
          <p:cNvSpPr txBox="1"/>
          <p:nvPr/>
        </p:nvSpPr>
        <p:spPr>
          <a:xfrm>
            <a:off x="1352815" y="517713"/>
            <a:ext cx="3461745" cy="195823"/>
          </a:xfrm>
          <a:prstGeom prst="rect">
            <a:avLst/>
          </a:prstGeom>
          <a:noFill/>
        </p:spPr>
        <p:txBody>
          <a:bodyPr wrap="square" lIns="0" rtlCol="0">
            <a:spAutoFit/>
          </a:bodyPr>
          <a:lstStyle>
            <a:defPPr>
              <a:defRPr lang="en-LT"/>
            </a:defPPr>
            <a:lvl1pPr marR="0" lvl="0" indent="0" fontAlgn="auto">
              <a:lnSpc>
                <a:spcPct val="150000"/>
              </a:lnSpc>
              <a:spcBef>
                <a:spcPts val="0"/>
              </a:spcBef>
              <a:spcAft>
                <a:spcPts val="0"/>
              </a:spcAft>
              <a:buClrTx/>
              <a:buSzTx/>
              <a:buFontTx/>
              <a:buNone/>
              <a:tabLst/>
              <a:defRPr kumimoji="0" sz="800" b="0" u="none" strike="noStrike" cap="none" spc="110" normalizeH="0">
                <a:ln>
                  <a:noFill/>
                </a:ln>
                <a:solidFill>
                  <a:srgbClr val="FFFFFF"/>
                </a:solidFill>
                <a:uLnTx/>
                <a:uFillTx/>
                <a:latin typeface="Michroma" pitchFamily="2" charset="0"/>
                <a:ea typeface="Roboto" panose="02000000000000000000" pitchFamily="2" charset="0"/>
                <a:cs typeface="Urbanist Light" panose="020B0A04040200000203" pitchFamily="34" charset="77"/>
              </a:defRPr>
            </a:lvl1pPr>
          </a:lstStyle>
          <a:p>
            <a:pPr lvl="0">
              <a:defRPr/>
            </a:pPr>
            <a:r>
              <a:rPr lang="en-GB" sz="500" dirty="0"/>
              <a:t>GIT // REPOSITOIRES // TARIFICATION // COLLABORATEURS</a:t>
            </a:r>
          </a:p>
        </p:txBody>
      </p:sp>
      <p:grpSp>
        <p:nvGrpSpPr>
          <p:cNvPr id="1051" name="PART 2">
            <a:extLst>
              <a:ext uri="{FF2B5EF4-FFF2-40B4-BE49-F238E27FC236}">
                <a16:creationId xmlns:a16="http://schemas.microsoft.com/office/drawing/2014/main" id="{0DE89BEB-9FDF-FD01-F421-C9AD56505E69}"/>
              </a:ext>
            </a:extLst>
          </p:cNvPr>
          <p:cNvGrpSpPr/>
          <p:nvPr/>
        </p:nvGrpSpPr>
        <p:grpSpPr>
          <a:xfrm>
            <a:off x="1926589" y="2297360"/>
            <a:ext cx="2492434" cy="830997"/>
            <a:chOff x="3255579" y="2297360"/>
            <a:chExt cx="2492434" cy="830997"/>
          </a:xfrm>
        </p:grpSpPr>
        <p:sp>
          <p:nvSpPr>
            <p:cNvPr id="1036" name="TextBox 1035">
              <a:extLst>
                <a:ext uri="{FF2B5EF4-FFF2-40B4-BE49-F238E27FC236}">
                  <a16:creationId xmlns:a16="http://schemas.microsoft.com/office/drawing/2014/main" id="{6174ED5A-C98C-FD86-3842-B3CC94D7B8B7}"/>
                </a:ext>
              </a:extLst>
            </p:cNvPr>
            <p:cNvSpPr txBox="1"/>
            <p:nvPr/>
          </p:nvSpPr>
          <p:spPr>
            <a:xfrm>
              <a:off x="4559650"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sp>
          <p:nvSpPr>
            <p:cNvPr id="1037" name="Rectangle 1036">
              <a:extLst>
                <a:ext uri="{FF2B5EF4-FFF2-40B4-BE49-F238E27FC236}">
                  <a16:creationId xmlns:a16="http://schemas.microsoft.com/office/drawing/2014/main" id="{36581006-A801-4761-6BD7-6AB3BF6C34AB}"/>
                </a:ext>
              </a:extLst>
            </p:cNvPr>
            <p:cNvSpPr/>
            <p:nvPr/>
          </p:nvSpPr>
          <p:spPr>
            <a:xfrm>
              <a:off x="3255579" y="2486173"/>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39" name="Rectangle 1038">
              <a:extLst>
                <a:ext uri="{FF2B5EF4-FFF2-40B4-BE49-F238E27FC236}">
                  <a16:creationId xmlns:a16="http://schemas.microsoft.com/office/drawing/2014/main" id="{01626707-5AF6-4C6E-5A01-917EF5FB2A7C}"/>
                </a:ext>
              </a:extLst>
            </p:cNvPr>
            <p:cNvSpPr/>
            <p:nvPr/>
          </p:nvSpPr>
          <p:spPr>
            <a:xfrm>
              <a:off x="3255579" y="2826656"/>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50" name="TextBox 1049">
              <a:extLst>
                <a:ext uri="{FF2B5EF4-FFF2-40B4-BE49-F238E27FC236}">
                  <a16:creationId xmlns:a16="http://schemas.microsoft.com/office/drawing/2014/main" id="{123CF19F-8F78-390D-4B8A-89BDAE93239F}"/>
                </a:ext>
              </a:extLst>
            </p:cNvPr>
            <p:cNvSpPr txBox="1"/>
            <p:nvPr/>
          </p:nvSpPr>
          <p:spPr>
            <a:xfrm>
              <a:off x="4887200" y="2297360"/>
              <a:ext cx="860813" cy="830997"/>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Forte" panose="03060902040502070203" pitchFamily="66" charset="0"/>
                  <a:ea typeface="+mn-ea"/>
                  <a:cs typeface="+mn-cs"/>
                </a:rPr>
                <a:t>UI</a:t>
              </a:r>
              <a:endParaRPr kumimoji="0" lang="en-GB" sz="5400" b="1"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Forte" panose="03060902040502070203" pitchFamily="66" charset="0"/>
                <a:ea typeface="+mn-ea"/>
                <a:cs typeface="+mn-cs"/>
              </a:endParaRPr>
            </a:p>
          </p:txBody>
        </p:sp>
      </p:grpSp>
      <p:grpSp>
        <p:nvGrpSpPr>
          <p:cNvPr id="1052" name="PART 1">
            <a:extLst>
              <a:ext uri="{FF2B5EF4-FFF2-40B4-BE49-F238E27FC236}">
                <a16:creationId xmlns:a16="http://schemas.microsoft.com/office/drawing/2014/main" id="{5D643A73-7A51-E9C1-A8AE-A36A1D3BCA56}"/>
              </a:ext>
            </a:extLst>
          </p:cNvPr>
          <p:cNvGrpSpPr/>
          <p:nvPr/>
        </p:nvGrpSpPr>
        <p:grpSpPr>
          <a:xfrm>
            <a:off x="1347451" y="2343526"/>
            <a:ext cx="1908127" cy="738664"/>
            <a:chOff x="1347451" y="2343526"/>
            <a:chExt cx="1908127" cy="738664"/>
          </a:xfrm>
        </p:grpSpPr>
        <p:sp>
          <p:nvSpPr>
            <p:cNvPr id="7" name="TextBox 6">
              <a:extLst>
                <a:ext uri="{FF2B5EF4-FFF2-40B4-BE49-F238E27FC236}">
                  <a16:creationId xmlns:a16="http://schemas.microsoft.com/office/drawing/2014/main" id="{4E97E25B-22F2-38F0-7E16-C3B7D41ACFA9}"/>
                </a:ext>
              </a:extLst>
            </p:cNvPr>
            <p:cNvSpPr txBox="1"/>
            <p:nvPr/>
          </p:nvSpPr>
          <p:spPr>
            <a:xfrm>
              <a:off x="1347451" y="2343526"/>
              <a:ext cx="6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Hanson" pitchFamily="50" charset="0"/>
                <a:ea typeface="+mn-ea"/>
                <a:cs typeface="+mn-cs"/>
              </a:endParaRPr>
            </a:p>
          </p:txBody>
        </p:sp>
        <p:sp>
          <p:nvSpPr>
            <p:cNvPr id="1040" name="TextBox 1039">
              <a:extLst>
                <a:ext uri="{FF2B5EF4-FFF2-40B4-BE49-F238E27FC236}">
                  <a16:creationId xmlns:a16="http://schemas.microsoft.com/office/drawing/2014/main" id="{B9E8D04F-3234-D223-0F8F-6DB8F62D2A04}"/>
                </a:ext>
              </a:extLst>
            </p:cNvPr>
            <p:cNvSpPr txBox="1"/>
            <p:nvPr/>
          </p:nvSpPr>
          <p:spPr>
            <a:xfrm flipH="1">
              <a:off x="2951349"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grpSp>
      <p:pic>
        <p:nvPicPr>
          <p:cNvPr id="43" name="Konoha   Naruto Type Beat">
            <a:hlinkClick r:id="" action="ppaction://media"/>
            <a:extLst>
              <a:ext uri="{FF2B5EF4-FFF2-40B4-BE49-F238E27FC236}">
                <a16:creationId xmlns:a16="http://schemas.microsoft.com/office/drawing/2014/main" id="{CE67B8D4-2790-20B2-A3FA-4C3B03EBB59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08394" y="-812325"/>
            <a:ext cx="487363" cy="487363"/>
          </a:xfrm>
          <a:prstGeom prst="rect">
            <a:avLst/>
          </a:prstGeom>
        </p:spPr>
      </p:pic>
      <p:sp useBgFill="1">
        <p:nvSpPr>
          <p:cNvPr id="69" name="Snip Diagonal Corner of Rectangle 23">
            <a:extLst>
              <a:ext uri="{FF2B5EF4-FFF2-40B4-BE49-F238E27FC236}">
                <a16:creationId xmlns:a16="http://schemas.microsoft.com/office/drawing/2014/main" id="{CA5E2858-F542-4F04-9D9A-E5189B0D48CC}"/>
              </a:ext>
            </a:extLst>
          </p:cNvPr>
          <p:cNvSpPr/>
          <p:nvPr/>
        </p:nvSpPr>
        <p:spPr>
          <a:xfrm>
            <a:off x="2011658" y="6194952"/>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0" name="Snip Diagonal Corner of Rectangle 23">
            <a:extLst>
              <a:ext uri="{FF2B5EF4-FFF2-40B4-BE49-F238E27FC236}">
                <a16:creationId xmlns:a16="http://schemas.microsoft.com/office/drawing/2014/main" id="{B44D832D-5482-4DEC-993D-FD9CC86DF8DA}"/>
              </a:ext>
            </a:extLst>
          </p:cNvPr>
          <p:cNvSpPr/>
          <p:nvPr/>
        </p:nvSpPr>
        <p:spPr>
          <a:xfrm>
            <a:off x="1992952" y="6173639"/>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ERI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71" name="Snip Diagonal Corner of Rectangle 23">
            <a:extLst>
              <a:ext uri="{FF2B5EF4-FFF2-40B4-BE49-F238E27FC236}">
                <a16:creationId xmlns:a16="http://schemas.microsoft.com/office/drawing/2014/main" id="{D6398ACD-ADA3-4691-96B9-1C136AA9E323}"/>
              </a:ext>
            </a:extLst>
          </p:cNvPr>
          <p:cNvSpPr/>
          <p:nvPr/>
        </p:nvSpPr>
        <p:spPr>
          <a:xfrm>
            <a:off x="3901785" y="6182699"/>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2" name="Snip Diagonal Corner of Rectangle 23">
            <a:extLst>
              <a:ext uri="{FF2B5EF4-FFF2-40B4-BE49-F238E27FC236}">
                <a16:creationId xmlns:a16="http://schemas.microsoft.com/office/drawing/2014/main" id="{B0E64924-391F-41F3-B730-E2A086F82257}"/>
              </a:ext>
            </a:extLst>
          </p:cNvPr>
          <p:cNvSpPr/>
          <p:nvPr/>
        </p:nvSpPr>
        <p:spPr>
          <a:xfrm>
            <a:off x="3898121" y="6167432"/>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FAT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RAMZ</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73" name="Snip Diagonal Corner of Rectangle 23">
            <a:extLst>
              <a:ext uri="{FF2B5EF4-FFF2-40B4-BE49-F238E27FC236}">
                <a16:creationId xmlns:a16="http://schemas.microsoft.com/office/drawing/2014/main" id="{03EB15FC-A12F-4AB6-BD97-7A2686A7E68D}"/>
              </a:ext>
            </a:extLst>
          </p:cNvPr>
          <p:cNvSpPr/>
          <p:nvPr/>
        </p:nvSpPr>
        <p:spPr>
          <a:xfrm>
            <a:off x="267852" y="6194418"/>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4" name="Snip Diagonal Corner of Rectangle 23">
            <a:extLst>
              <a:ext uri="{FF2B5EF4-FFF2-40B4-BE49-F238E27FC236}">
                <a16:creationId xmlns:a16="http://schemas.microsoft.com/office/drawing/2014/main" id="{0C87BBF0-A549-4909-A52A-A56E2989B951}"/>
              </a:ext>
            </a:extLst>
          </p:cNvPr>
          <p:cNvSpPr/>
          <p:nvPr/>
        </p:nvSpPr>
        <p:spPr>
          <a:xfrm>
            <a:off x="250759" y="6194418"/>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10" dirty="0">
                <a:solidFill>
                  <a:srgbClr val="FFFFFF"/>
                </a:solidFill>
                <a:effectLst>
                  <a:outerShdw blurRad="38100" dist="38100" dir="2700000" algn="tl">
                    <a:srgbClr val="000000">
                      <a:alpha val="43137"/>
                    </a:srgbClr>
                  </a:outerShdw>
                </a:effectLst>
                <a:latin typeface="Hanson" pitchFamily="50" charset="0"/>
              </a:rPr>
              <a:t>OTHMANE</a:t>
            </a:r>
            <a:endPar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77" name="Snip Diagonal Corner of Rectangle 23">
            <a:extLst>
              <a:ext uri="{FF2B5EF4-FFF2-40B4-BE49-F238E27FC236}">
                <a16:creationId xmlns:a16="http://schemas.microsoft.com/office/drawing/2014/main" id="{583138F0-4D4C-43FF-9C3F-6BEDF80D5823}"/>
              </a:ext>
            </a:extLst>
          </p:cNvPr>
          <p:cNvSpPr/>
          <p:nvPr/>
        </p:nvSpPr>
        <p:spPr>
          <a:xfrm>
            <a:off x="10334399" y="6244266"/>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8" name="Snip Diagonal Corner of Rectangle 23">
            <a:extLst>
              <a:ext uri="{FF2B5EF4-FFF2-40B4-BE49-F238E27FC236}">
                <a16:creationId xmlns:a16="http://schemas.microsoft.com/office/drawing/2014/main" id="{5C7BDBF1-F1DB-4BDB-BAAE-1A788B15D2D8}"/>
              </a:ext>
            </a:extLst>
          </p:cNvPr>
          <p:cNvSpPr/>
          <p:nvPr/>
        </p:nvSpPr>
        <p:spPr>
          <a:xfrm>
            <a:off x="10347625" y="6260352"/>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10" dirty="0">
                <a:solidFill>
                  <a:srgbClr val="FFFFFF"/>
                </a:solidFill>
                <a:effectLst>
                  <a:outerShdw blurRad="38100" dist="38100" dir="2700000" algn="tl">
                    <a:srgbClr val="000000">
                      <a:alpha val="43137"/>
                    </a:srgbClr>
                  </a:outerShdw>
                </a:effectLst>
                <a:latin typeface="Hanson" pitchFamily="50" charset="0"/>
              </a:rPr>
              <a:t>DIDI</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Tree>
    <p:extLst>
      <p:ext uri="{BB962C8B-B14F-4D97-AF65-F5344CB8AC3E}">
        <p14:creationId xmlns:p14="http://schemas.microsoft.com/office/powerpoint/2010/main" val="1818426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0">
        <p159:morph option="byObject"/>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4634" numSld="999" showWhenStopped="0">
                <p:cTn id="7" repeatCount="indefinite" fill="remove" display="0">
                  <p:stCondLst>
                    <p:cond delay="indefinite"/>
                  </p:stCondLst>
                  <p:endCondLst>
                    <p:cond evt="onStopAudio" delay="0">
                      <p:tgtEl>
                        <p:sldTgt/>
                      </p:tgtEl>
                    </p:cond>
                  </p:endCondLst>
                </p:cTn>
                <p:tgtEl>
                  <p:spTgt spid="4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1189B2"/>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0" y="0"/>
            <a:ext cx="12192000" cy="6858000"/>
          </a:xfrm>
          <a:prstGeom prst="rect">
            <a:avLst/>
          </a:prstGeom>
          <a:solidFill>
            <a:srgbClr val="1589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1" name="think-cell Slide" r:id="rId8" imgW="425" imgH="424" progId="TCLayout.ActiveDocument.1">
                  <p:embed/>
                </p:oleObj>
              </mc:Choice>
              <mc:Fallback>
                <p:oleObj name="think-cell Slide" r:id="rId8"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2301A4A2-C7DF-4BA5-8607-F06B1E89B651}"/>
              </a:ext>
            </a:extLst>
          </p:cNvPr>
          <p:cNvSpPr txBox="1"/>
          <p:nvPr/>
        </p:nvSpPr>
        <p:spPr>
          <a:xfrm>
            <a:off x="3826231" y="613782"/>
            <a:ext cx="4191917" cy="1107996"/>
          </a:xfrm>
          <a:prstGeom prst="rect">
            <a:avLst/>
          </a:prstGeom>
          <a:noFill/>
        </p:spPr>
        <p:txBody>
          <a:bodyPr wrap="none" rtlCol="0">
            <a:spAutoFit/>
          </a:bodyPr>
          <a:lstStyle/>
          <a:p>
            <a:pPr algn="l"/>
            <a:r>
              <a:rPr lang="en-US" sz="6600" b="0" i="0" dirty="0">
                <a:solidFill>
                  <a:schemeClr val="bg1"/>
                </a:solidFill>
                <a:effectLst>
                  <a:outerShdw blurRad="38100" dist="38100" dir="2700000" algn="tl">
                    <a:srgbClr val="000000">
                      <a:alpha val="43137"/>
                    </a:srgbClr>
                  </a:outerShdw>
                </a:effectLst>
                <a:latin typeface="Chewy" panose="02000000000000000000" pitchFamily="2" charset="0"/>
              </a:rPr>
              <a:t> LES OUTILS</a:t>
            </a:r>
          </a:p>
        </p:txBody>
      </p:sp>
      <p:sp>
        <p:nvSpPr>
          <p:cNvPr id="12" name="TextBox 11">
            <a:extLst>
              <a:ext uri="{FF2B5EF4-FFF2-40B4-BE49-F238E27FC236}">
                <a16:creationId xmlns:a16="http://schemas.microsoft.com/office/drawing/2014/main" id="{37C6FDC7-9725-4B60-9EE7-8CF75CD73FDD}"/>
              </a:ext>
            </a:extLst>
          </p:cNvPr>
          <p:cNvSpPr txBox="1"/>
          <p:nvPr/>
        </p:nvSpPr>
        <p:spPr>
          <a:xfrm>
            <a:off x="1768474" y="1904673"/>
            <a:ext cx="8933481" cy="861774"/>
          </a:xfrm>
          <a:prstGeom prst="rect">
            <a:avLst/>
          </a:prstGeom>
          <a:solidFill>
            <a:schemeClr val="accent1">
              <a:lumMod val="50000"/>
              <a:alpha val="50000"/>
            </a:schemeClr>
          </a:solidFill>
        </p:spPr>
        <p:txBody>
          <a:bodyPr wrap="square" lIns="182880" tIns="182880" rIns="182880" bIns="182880" rtlCol="0">
            <a:spAutoFit/>
          </a:bodyPr>
          <a:lstStyle/>
          <a:p>
            <a:r>
              <a:rPr lang="fr-FR" sz="1600" dirty="0">
                <a:solidFill>
                  <a:schemeClr val="bg1"/>
                </a:solidFill>
                <a:effectLst>
                  <a:outerShdw blurRad="38100" dist="38100" dir="2700000" algn="tl">
                    <a:srgbClr val="000000">
                      <a:alpha val="43137"/>
                    </a:srgbClr>
                  </a:outerShdw>
                </a:effectLst>
                <a:latin typeface="Arial" panose="020B0604020202020204" pitchFamily="34" charset="0"/>
              </a:rPr>
              <a:t>GitHub propose plusieurs outils, pour simplifier et améliorer l'expérience des utilisateurs lors de l'utilisation de la plateforme. Voici quelques-uns de ces outils :</a:t>
            </a:r>
            <a:endParaRPr lang="fr-FR" sz="1600" b="0" i="0" dirty="0">
              <a:solidFill>
                <a:schemeClr val="bg1"/>
              </a:solidFill>
              <a:effectLst>
                <a:outerShdw blurRad="38100" dist="38100" dir="2700000" algn="tl">
                  <a:srgbClr val="000000">
                    <a:alpha val="43137"/>
                  </a:srgbClr>
                </a:outerShdw>
              </a:effectLst>
              <a:latin typeface="Arial" panose="020B0604020202020204" pitchFamily="34" charset="0"/>
            </a:endParaRPr>
          </a:p>
        </p:txBody>
      </p:sp>
      <p:sp>
        <p:nvSpPr>
          <p:cNvPr id="26" name="Rectangle 25">
            <a:extLst>
              <a:ext uri="{FF2B5EF4-FFF2-40B4-BE49-F238E27FC236}">
                <a16:creationId xmlns:a16="http://schemas.microsoft.com/office/drawing/2014/main" id="{1714595F-3A7D-4C7A-89CB-42480388993B}"/>
              </a:ext>
            </a:extLst>
          </p:cNvPr>
          <p:cNvSpPr/>
          <p:nvPr/>
        </p:nvSpPr>
        <p:spPr>
          <a:xfrm>
            <a:off x="1205137" y="3048578"/>
            <a:ext cx="9929846" cy="3010437"/>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46">
            <a:extLst>
              <a:ext uri="{FF2B5EF4-FFF2-40B4-BE49-F238E27FC236}">
                <a16:creationId xmlns:a16="http://schemas.microsoft.com/office/drawing/2014/main" id="{FCBAEB6D-382A-4E44-B97C-4F4A1852EE89}"/>
              </a:ext>
            </a:extLst>
          </p:cNvPr>
          <p:cNvSpPr txBox="1"/>
          <p:nvPr/>
        </p:nvSpPr>
        <p:spPr>
          <a:xfrm>
            <a:off x="1323072" y="3821529"/>
            <a:ext cx="2877711" cy="400110"/>
          </a:xfrm>
          <a:prstGeom prst="rect">
            <a:avLst/>
          </a:prstGeom>
          <a:noFill/>
        </p:spPr>
        <p:txBody>
          <a:bodyPr wrap="none" rtlCol="0">
            <a:spAutoFit/>
          </a:bodyPr>
          <a:lstStyle/>
          <a:p>
            <a:pPr algn="ctr"/>
            <a:r>
              <a:rPr lang="fr-FR" sz="2000" b="1" spc="300" dirty="0">
                <a:solidFill>
                  <a:schemeClr val="bg1"/>
                </a:solidFill>
                <a:latin typeface="Montserrat" pitchFamily="2" charset="77"/>
              </a:rPr>
              <a:t>GitHub Desktop</a:t>
            </a:r>
            <a:endParaRPr lang="en-LT" sz="2000" b="1" spc="300" dirty="0">
              <a:solidFill>
                <a:schemeClr val="bg1"/>
              </a:solidFill>
              <a:latin typeface="Montserrat" pitchFamily="2" charset="77"/>
            </a:endParaRPr>
          </a:p>
        </p:txBody>
      </p:sp>
      <p:sp>
        <p:nvSpPr>
          <p:cNvPr id="20" name="TextBox 46">
            <a:extLst>
              <a:ext uri="{FF2B5EF4-FFF2-40B4-BE49-F238E27FC236}">
                <a16:creationId xmlns:a16="http://schemas.microsoft.com/office/drawing/2014/main" id="{98130A6F-51B0-4E99-B764-4735728DD442}"/>
              </a:ext>
            </a:extLst>
          </p:cNvPr>
          <p:cNvSpPr txBox="1"/>
          <p:nvPr/>
        </p:nvSpPr>
        <p:spPr>
          <a:xfrm>
            <a:off x="4560205" y="3845134"/>
            <a:ext cx="3212739" cy="400110"/>
          </a:xfrm>
          <a:prstGeom prst="rect">
            <a:avLst/>
          </a:prstGeom>
          <a:noFill/>
        </p:spPr>
        <p:txBody>
          <a:bodyPr wrap="none" rtlCol="0">
            <a:spAutoFit/>
          </a:bodyPr>
          <a:lstStyle/>
          <a:p>
            <a:pPr algn="ctr"/>
            <a:r>
              <a:rPr lang="fr-FR" sz="2000" b="1" spc="300" dirty="0">
                <a:solidFill>
                  <a:schemeClr val="bg1"/>
                </a:solidFill>
                <a:latin typeface="Montserrat" pitchFamily="2" charset="77"/>
              </a:rPr>
              <a:t>GitHub for Mobile</a:t>
            </a:r>
            <a:endParaRPr lang="en-LT" sz="2000" b="1" spc="300" dirty="0">
              <a:solidFill>
                <a:schemeClr val="bg1"/>
              </a:solidFill>
              <a:latin typeface="Montserrat" pitchFamily="2" charset="77"/>
            </a:endParaRPr>
          </a:p>
        </p:txBody>
      </p:sp>
      <p:sp>
        <p:nvSpPr>
          <p:cNvPr id="22" name="TextBox 46">
            <a:extLst>
              <a:ext uri="{FF2B5EF4-FFF2-40B4-BE49-F238E27FC236}">
                <a16:creationId xmlns:a16="http://schemas.microsoft.com/office/drawing/2014/main" id="{88A3BA89-4964-4FE2-B51E-4CA05C9033DB}"/>
              </a:ext>
            </a:extLst>
          </p:cNvPr>
          <p:cNvSpPr txBox="1"/>
          <p:nvPr/>
        </p:nvSpPr>
        <p:spPr>
          <a:xfrm>
            <a:off x="8319380" y="3845134"/>
            <a:ext cx="1885453" cy="400110"/>
          </a:xfrm>
          <a:prstGeom prst="rect">
            <a:avLst/>
          </a:prstGeom>
          <a:noFill/>
        </p:spPr>
        <p:txBody>
          <a:bodyPr wrap="none" rtlCol="0">
            <a:spAutoFit/>
          </a:bodyPr>
          <a:lstStyle/>
          <a:p>
            <a:pPr algn="ctr"/>
            <a:r>
              <a:rPr lang="fr-FR" sz="2000" b="1" spc="300" dirty="0" err="1">
                <a:solidFill>
                  <a:schemeClr val="bg1"/>
                </a:solidFill>
                <a:latin typeface="Montserrat" pitchFamily="2" charset="77"/>
              </a:rPr>
              <a:t>GitKraken</a:t>
            </a:r>
            <a:endParaRPr lang="en-LT" sz="2000" b="1" spc="300" dirty="0">
              <a:solidFill>
                <a:schemeClr val="bg1"/>
              </a:solidFill>
              <a:latin typeface="Montserrat" pitchFamily="2" charset="77"/>
            </a:endParaRPr>
          </a:p>
        </p:txBody>
      </p:sp>
      <p:pic>
        <p:nvPicPr>
          <p:cNvPr id="24" name="Picture 20">
            <a:extLst>
              <a:ext uri="{FF2B5EF4-FFF2-40B4-BE49-F238E27FC236}">
                <a16:creationId xmlns:a16="http://schemas.microsoft.com/office/drawing/2014/main" id="{2B545977-276D-4C7F-A899-35B6C6F81999}"/>
              </a:ext>
            </a:extLst>
          </p:cNvPr>
          <p:cNvPicPr>
            <a:picLocks noChangeAspect="1"/>
          </p:cNvPicPr>
          <p:nvPr/>
        </p:nvPicPr>
        <p:blipFill>
          <a:blip r:embed="rId10"/>
          <a:stretch>
            <a:fillRect/>
          </a:stretch>
        </p:blipFill>
        <p:spPr>
          <a:xfrm>
            <a:off x="5533616" y="4583926"/>
            <a:ext cx="1043840" cy="104384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25" name="Picture 20">
            <a:extLst>
              <a:ext uri="{FF2B5EF4-FFF2-40B4-BE49-F238E27FC236}">
                <a16:creationId xmlns:a16="http://schemas.microsoft.com/office/drawing/2014/main" id="{08C49C97-6541-4E3F-B62F-A27D39A9C0E1}"/>
              </a:ext>
            </a:extLst>
          </p:cNvPr>
          <p:cNvPicPr>
            <a:picLocks noChangeAspect="1"/>
          </p:cNvPicPr>
          <p:nvPr/>
        </p:nvPicPr>
        <p:blipFill>
          <a:blip r:embed="rId11"/>
          <a:stretch>
            <a:fillRect/>
          </a:stretch>
        </p:blipFill>
        <p:spPr>
          <a:xfrm>
            <a:off x="2151035" y="4583926"/>
            <a:ext cx="1042820" cy="104384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28" name="Picture 20">
            <a:extLst>
              <a:ext uri="{FF2B5EF4-FFF2-40B4-BE49-F238E27FC236}">
                <a16:creationId xmlns:a16="http://schemas.microsoft.com/office/drawing/2014/main" id="{5F64FA54-D06C-4544-BD1F-282CA1740F8C}"/>
              </a:ext>
            </a:extLst>
          </p:cNvPr>
          <p:cNvPicPr>
            <a:picLocks noChangeAspect="1"/>
          </p:cNvPicPr>
          <p:nvPr/>
        </p:nvPicPr>
        <p:blipFill>
          <a:blip r:embed="rId12"/>
          <a:stretch>
            <a:fillRect/>
          </a:stretch>
        </p:blipFill>
        <p:spPr>
          <a:xfrm>
            <a:off x="8770761" y="4553796"/>
            <a:ext cx="1043840" cy="104384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30" name="Graphique 29">
            <a:hlinkClick r:id="rId13" action="ppaction://hlinksldjump"/>
            <a:extLst>
              <a:ext uri="{FF2B5EF4-FFF2-40B4-BE49-F238E27FC236}">
                <a16:creationId xmlns:a16="http://schemas.microsoft.com/office/drawing/2014/main" id="{B57F3227-20B8-4A54-9B51-A2A87DAD173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551789" y="6202584"/>
            <a:ext cx="548855" cy="548855"/>
          </a:xfrm>
          <a:prstGeom prst="rect">
            <a:avLst/>
          </a:prstGeom>
        </p:spPr>
      </p:pic>
    </p:spTree>
    <p:extLst>
      <p:ext uri="{BB962C8B-B14F-4D97-AF65-F5344CB8AC3E}">
        <p14:creationId xmlns:p14="http://schemas.microsoft.com/office/powerpoint/2010/main" val="40802154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49" presetClass="entr" presetSubtype="0" decel="100000"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p:cTn id="11" dur="500" fill="hold"/>
                                        <p:tgtEl>
                                          <p:spTgt spid="24"/>
                                        </p:tgtEl>
                                        <p:attrNameLst>
                                          <p:attrName>ppt_w</p:attrName>
                                        </p:attrNameLst>
                                      </p:cBhvr>
                                      <p:tavLst>
                                        <p:tav tm="0">
                                          <p:val>
                                            <p:fltVal val="0"/>
                                          </p:val>
                                        </p:tav>
                                        <p:tav tm="100000">
                                          <p:val>
                                            <p:strVal val="#ppt_w"/>
                                          </p:val>
                                        </p:tav>
                                      </p:tavLst>
                                    </p:anim>
                                    <p:anim calcmode="lin" valueType="num">
                                      <p:cBhvr>
                                        <p:cTn id="12" dur="500" fill="hold"/>
                                        <p:tgtEl>
                                          <p:spTgt spid="24"/>
                                        </p:tgtEl>
                                        <p:attrNameLst>
                                          <p:attrName>ppt_h</p:attrName>
                                        </p:attrNameLst>
                                      </p:cBhvr>
                                      <p:tavLst>
                                        <p:tav tm="0">
                                          <p:val>
                                            <p:fltVal val="0"/>
                                          </p:val>
                                        </p:tav>
                                        <p:tav tm="100000">
                                          <p:val>
                                            <p:strVal val="#ppt_h"/>
                                          </p:val>
                                        </p:tav>
                                      </p:tavLst>
                                    </p:anim>
                                    <p:anim calcmode="lin" valueType="num">
                                      <p:cBhvr>
                                        <p:cTn id="13" dur="500" fill="hold"/>
                                        <p:tgtEl>
                                          <p:spTgt spid="24"/>
                                        </p:tgtEl>
                                        <p:attrNameLst>
                                          <p:attrName>style.rotation</p:attrName>
                                        </p:attrNameLst>
                                      </p:cBhvr>
                                      <p:tavLst>
                                        <p:tav tm="0">
                                          <p:val>
                                            <p:fltVal val="360"/>
                                          </p:val>
                                        </p:tav>
                                        <p:tav tm="100000">
                                          <p:val>
                                            <p:fltVal val="0"/>
                                          </p:val>
                                        </p:tav>
                                      </p:tavLst>
                                    </p:anim>
                                    <p:animEffect transition="in" filter="fade">
                                      <p:cBhvr>
                                        <p:cTn id="14" dur="500"/>
                                        <p:tgtEl>
                                          <p:spTgt spid="24"/>
                                        </p:tgtEl>
                                      </p:cBhvr>
                                    </p:animEffect>
                                  </p:childTnLst>
                                </p:cTn>
                              </p:par>
                            </p:childTnLst>
                          </p:cTn>
                        </p:par>
                        <p:par>
                          <p:cTn id="15" fill="hold">
                            <p:stCondLst>
                              <p:cond delay="1000"/>
                            </p:stCondLst>
                            <p:childTnLst>
                              <p:par>
                                <p:cTn id="16" presetID="49" presetClass="entr" presetSubtype="0" decel="100000"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cBhvr>
                                        <p:cTn id="18" dur="500" fill="hold"/>
                                        <p:tgtEl>
                                          <p:spTgt spid="25"/>
                                        </p:tgtEl>
                                        <p:attrNameLst>
                                          <p:attrName>ppt_w</p:attrName>
                                        </p:attrNameLst>
                                      </p:cBhvr>
                                      <p:tavLst>
                                        <p:tav tm="0">
                                          <p:val>
                                            <p:fltVal val="0"/>
                                          </p:val>
                                        </p:tav>
                                        <p:tav tm="100000">
                                          <p:val>
                                            <p:strVal val="#ppt_w"/>
                                          </p:val>
                                        </p:tav>
                                      </p:tavLst>
                                    </p:anim>
                                    <p:anim calcmode="lin" valueType="num">
                                      <p:cBhvr>
                                        <p:cTn id="19" dur="500" fill="hold"/>
                                        <p:tgtEl>
                                          <p:spTgt spid="25"/>
                                        </p:tgtEl>
                                        <p:attrNameLst>
                                          <p:attrName>ppt_h</p:attrName>
                                        </p:attrNameLst>
                                      </p:cBhvr>
                                      <p:tavLst>
                                        <p:tav tm="0">
                                          <p:val>
                                            <p:fltVal val="0"/>
                                          </p:val>
                                        </p:tav>
                                        <p:tav tm="100000">
                                          <p:val>
                                            <p:strVal val="#ppt_h"/>
                                          </p:val>
                                        </p:tav>
                                      </p:tavLst>
                                    </p:anim>
                                    <p:anim calcmode="lin" valueType="num">
                                      <p:cBhvr>
                                        <p:cTn id="20" dur="500" fill="hold"/>
                                        <p:tgtEl>
                                          <p:spTgt spid="25"/>
                                        </p:tgtEl>
                                        <p:attrNameLst>
                                          <p:attrName>style.rotation</p:attrName>
                                        </p:attrNameLst>
                                      </p:cBhvr>
                                      <p:tavLst>
                                        <p:tav tm="0">
                                          <p:val>
                                            <p:fltVal val="360"/>
                                          </p:val>
                                        </p:tav>
                                        <p:tav tm="100000">
                                          <p:val>
                                            <p:fltVal val="0"/>
                                          </p:val>
                                        </p:tav>
                                      </p:tavLst>
                                    </p:anim>
                                    <p:animEffect transition="in" filter="fade">
                                      <p:cBhvr>
                                        <p:cTn id="21" dur="500"/>
                                        <p:tgtEl>
                                          <p:spTgt spid="25"/>
                                        </p:tgtEl>
                                      </p:cBhvr>
                                    </p:animEffect>
                                  </p:childTnLst>
                                </p:cTn>
                              </p:par>
                            </p:childTnLst>
                          </p:cTn>
                        </p:par>
                        <p:par>
                          <p:cTn id="22" fill="hold">
                            <p:stCondLst>
                              <p:cond delay="1500"/>
                            </p:stCondLst>
                            <p:childTnLst>
                              <p:par>
                                <p:cTn id="23" presetID="49" presetClass="entr" presetSubtype="0" decel="100000" fill="hold" nodeType="after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p:cTn id="25" dur="500" fill="hold"/>
                                        <p:tgtEl>
                                          <p:spTgt spid="28"/>
                                        </p:tgtEl>
                                        <p:attrNameLst>
                                          <p:attrName>ppt_w</p:attrName>
                                        </p:attrNameLst>
                                      </p:cBhvr>
                                      <p:tavLst>
                                        <p:tav tm="0">
                                          <p:val>
                                            <p:fltVal val="0"/>
                                          </p:val>
                                        </p:tav>
                                        <p:tav tm="100000">
                                          <p:val>
                                            <p:strVal val="#ppt_w"/>
                                          </p:val>
                                        </p:tav>
                                      </p:tavLst>
                                    </p:anim>
                                    <p:anim calcmode="lin" valueType="num">
                                      <p:cBhvr>
                                        <p:cTn id="26" dur="500" fill="hold"/>
                                        <p:tgtEl>
                                          <p:spTgt spid="28"/>
                                        </p:tgtEl>
                                        <p:attrNameLst>
                                          <p:attrName>ppt_h</p:attrName>
                                        </p:attrNameLst>
                                      </p:cBhvr>
                                      <p:tavLst>
                                        <p:tav tm="0">
                                          <p:val>
                                            <p:fltVal val="0"/>
                                          </p:val>
                                        </p:tav>
                                        <p:tav tm="100000">
                                          <p:val>
                                            <p:strVal val="#ppt_h"/>
                                          </p:val>
                                        </p:tav>
                                      </p:tavLst>
                                    </p:anim>
                                    <p:anim calcmode="lin" valueType="num">
                                      <p:cBhvr>
                                        <p:cTn id="27" dur="500" fill="hold"/>
                                        <p:tgtEl>
                                          <p:spTgt spid="28"/>
                                        </p:tgtEl>
                                        <p:attrNameLst>
                                          <p:attrName>style.rotation</p:attrName>
                                        </p:attrNameLst>
                                      </p:cBhvr>
                                      <p:tavLst>
                                        <p:tav tm="0">
                                          <p:val>
                                            <p:fltVal val="360"/>
                                          </p:val>
                                        </p:tav>
                                        <p:tav tm="100000">
                                          <p:val>
                                            <p:fltVal val="0"/>
                                          </p:val>
                                        </p:tav>
                                      </p:tavLst>
                                    </p:anim>
                                    <p:animEffect transition="in" filter="fade">
                                      <p:cBhvr>
                                        <p:cTn id="2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3158490" y="491490"/>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6210300" y="1935480"/>
            <a:ext cx="6064481" cy="39395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5000" dirty="0">
                <a:ln w="25400">
                  <a:solidFill>
                    <a:prstClr val="white"/>
                  </a:solidFill>
                </a:ln>
                <a:noFill/>
                <a:latin typeface="Gotham Black" pitchFamily="50" charset="0"/>
              </a:rPr>
              <a:t>GIT?</a:t>
            </a:r>
            <a:endParaRPr kumimoji="0" lang="en-US" sz="25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3709832650"/>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817" y="106561"/>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3176" y="0"/>
            <a:ext cx="12192000" cy="6858000"/>
          </a:xfrm>
          <a:prstGeom prst="rect">
            <a:avLst/>
          </a:prstGeom>
          <a:solidFill>
            <a:srgbClr val="FFD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 name="think-cell Slide" r:id="rId7" imgW="425" imgH="424" progId="TCLayout.ActiveDocument.1">
                  <p:embed/>
                </p:oleObj>
              </mc:Choice>
              <mc:Fallback>
                <p:oleObj name="think-cell Slide" r:id="rId7"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3014047" y="349678"/>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0" dirty="0">
                <a:ln w="25400">
                  <a:solidFill>
                    <a:prstClr val="white"/>
                  </a:solidFill>
                </a:ln>
                <a:noFill/>
                <a:latin typeface="Gotham Black" pitchFamily="50" charset="0"/>
              </a:rPr>
              <a:t>1</a:t>
            </a:r>
            <a:endPar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0" name="TextBox 9">
            <a:extLst>
              <a:ext uri="{FF2B5EF4-FFF2-40B4-BE49-F238E27FC236}">
                <a16:creationId xmlns:a16="http://schemas.microsoft.com/office/drawing/2014/main" id="{2301A4A2-C7DF-4BA5-8607-F06B1E89B651}"/>
              </a:ext>
            </a:extLst>
          </p:cNvPr>
          <p:cNvSpPr txBox="1"/>
          <p:nvPr/>
        </p:nvSpPr>
        <p:spPr>
          <a:xfrm>
            <a:off x="4029916" y="598987"/>
            <a:ext cx="4413388" cy="1107996"/>
          </a:xfrm>
          <a:prstGeom prst="rect">
            <a:avLst/>
          </a:prstGeom>
          <a:noFill/>
        </p:spPr>
        <p:txBody>
          <a:bodyPr wrap="none" rtlCol="0">
            <a:spAutoFit/>
          </a:bodyPr>
          <a:lstStyle/>
          <a:p>
            <a:r>
              <a:rPr lang="en-US" sz="6600" dirty="0">
                <a:solidFill>
                  <a:schemeClr val="bg1"/>
                </a:solidFill>
                <a:effectLst>
                  <a:outerShdw blurRad="38100" dist="38100" dir="2700000" algn="tl">
                    <a:srgbClr val="000000">
                      <a:alpha val="43137"/>
                    </a:srgbClr>
                  </a:outerShdw>
                </a:effectLst>
                <a:latin typeface="Chewy" panose="02000000000000000000" pitchFamily="2" charset="0"/>
              </a:rPr>
              <a:t>DÉFINITION </a:t>
            </a:r>
            <a:endParaRPr lang="en-US" sz="6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2" name="TextBox 11">
            <a:extLst>
              <a:ext uri="{FF2B5EF4-FFF2-40B4-BE49-F238E27FC236}">
                <a16:creationId xmlns:a16="http://schemas.microsoft.com/office/drawing/2014/main" id="{37C6FDC7-9725-4B60-9EE7-8CF75CD73FDD}"/>
              </a:ext>
            </a:extLst>
          </p:cNvPr>
          <p:cNvSpPr txBox="1"/>
          <p:nvPr/>
        </p:nvSpPr>
        <p:spPr>
          <a:xfrm>
            <a:off x="1708354" y="2440408"/>
            <a:ext cx="9122909" cy="2215991"/>
          </a:xfrm>
          <a:prstGeom prst="rect">
            <a:avLst/>
          </a:prstGeom>
          <a:solidFill>
            <a:srgbClr val="463200">
              <a:alpha val="49804"/>
            </a:srgbClr>
          </a:solidFill>
        </p:spPr>
        <p:txBody>
          <a:bodyPr wrap="square" lIns="182880" tIns="182880" rIns="182880" bIns="182880" rtlCol="0">
            <a:spAutoFit/>
          </a:bodyPr>
          <a:lstStyle/>
          <a:p>
            <a:pPr algn="just"/>
            <a:r>
              <a:rPr lang="fr-FR" sz="2400" dirty="0">
                <a:solidFill>
                  <a:schemeClr val="bg1"/>
                </a:solidFill>
                <a:effectLst>
                  <a:outerShdw blurRad="38100" dist="38100" dir="2700000" algn="tl">
                    <a:srgbClr val="000000">
                      <a:alpha val="43137"/>
                    </a:srgbClr>
                  </a:outerShdw>
                </a:effectLst>
                <a:latin typeface="Arial" panose="020B0604020202020204" pitchFamily="34" charset="0"/>
              </a:rPr>
              <a:t>Git, créé en 2005 par Linus </a:t>
            </a:r>
            <a:r>
              <a:rPr lang="fr-FR" sz="2400" dirty="0" err="1">
                <a:solidFill>
                  <a:schemeClr val="bg1"/>
                </a:solidFill>
                <a:effectLst>
                  <a:outerShdw blurRad="38100" dist="38100" dir="2700000" algn="tl">
                    <a:srgbClr val="000000">
                      <a:alpha val="43137"/>
                    </a:srgbClr>
                  </a:outerShdw>
                </a:effectLst>
                <a:latin typeface="Arial" panose="020B0604020202020204" pitchFamily="34" charset="0"/>
              </a:rPr>
              <a:t>Torvalds</a:t>
            </a:r>
            <a:r>
              <a:rPr lang="fr-FR" sz="2400" dirty="0">
                <a:solidFill>
                  <a:schemeClr val="bg1"/>
                </a:solidFill>
                <a:effectLst>
                  <a:outerShdw blurRad="38100" dist="38100" dir="2700000" algn="tl">
                    <a:srgbClr val="000000">
                      <a:alpha val="43137"/>
                    </a:srgbClr>
                  </a:outerShdw>
                </a:effectLst>
                <a:latin typeface="Arial" panose="020B0604020202020204" pitchFamily="34" charset="0"/>
              </a:rPr>
              <a:t>, le fondateur de Linux, est </a:t>
            </a:r>
            <a:r>
              <a:rPr lang="fr-FR" sz="2400" dirty="0" err="1">
                <a:solidFill>
                  <a:schemeClr val="bg1"/>
                </a:solidFill>
                <a:effectLst>
                  <a:outerShdw blurRad="38100" dist="38100" dir="2700000" algn="tl">
                    <a:srgbClr val="000000">
                      <a:alpha val="43137"/>
                    </a:srgbClr>
                  </a:outerShdw>
                </a:effectLst>
                <a:latin typeface="Arial" panose="020B0604020202020204" pitchFamily="34" charset="0"/>
              </a:rPr>
              <a:t>est</a:t>
            </a:r>
            <a:r>
              <a:rPr lang="fr-FR" sz="2400" dirty="0">
                <a:solidFill>
                  <a:schemeClr val="bg1"/>
                </a:solidFill>
                <a:effectLst>
                  <a:outerShdw blurRad="38100" dist="38100" dir="2700000" algn="tl">
                    <a:srgbClr val="000000">
                      <a:alpha val="43137"/>
                    </a:srgbClr>
                  </a:outerShdw>
                </a:effectLst>
                <a:latin typeface="Arial" panose="020B0604020202020204" pitchFamily="34" charset="0"/>
              </a:rPr>
              <a:t> un outil de suivi et de gestion de fichiers qui permet de suivre les changements et de collaborer sur des projets </a:t>
            </a:r>
            <a:r>
              <a:rPr lang="fr-FR" sz="2400" dirty="0" err="1">
                <a:solidFill>
                  <a:schemeClr val="bg1"/>
                </a:solidFill>
                <a:effectLst>
                  <a:outerShdw blurRad="38100" dist="38100" dir="2700000" algn="tl">
                    <a:srgbClr val="000000">
                      <a:alpha val="43137"/>
                    </a:srgbClr>
                  </a:outerShdw>
                </a:effectLst>
                <a:latin typeface="Arial" panose="020B0604020202020204" pitchFamily="34" charset="0"/>
              </a:rPr>
              <a:t>informatiques.ce</a:t>
            </a:r>
            <a:r>
              <a:rPr lang="fr-FR" sz="2400" dirty="0">
                <a:solidFill>
                  <a:schemeClr val="bg1"/>
                </a:solidFill>
                <a:effectLst>
                  <a:outerShdw blurRad="38100" dist="38100" dir="2700000" algn="tl">
                    <a:srgbClr val="000000">
                      <a:alpha val="43137"/>
                    </a:srgbClr>
                  </a:outerShdw>
                </a:effectLst>
                <a:latin typeface="Arial" panose="020B0604020202020204" pitchFamily="34" charset="0"/>
              </a:rPr>
              <a:t> qui s’</a:t>
            </a:r>
            <a:r>
              <a:rPr lang="fr-FR" sz="2400" dirty="0" err="1">
                <a:solidFill>
                  <a:schemeClr val="bg1"/>
                </a:solidFill>
                <a:effectLst>
                  <a:outerShdw blurRad="38100" dist="38100" dir="2700000" algn="tl">
                    <a:srgbClr val="000000">
                      <a:alpha val="43137"/>
                    </a:srgbClr>
                  </a:outerShdw>
                </a:effectLst>
                <a:latin typeface="Arial" panose="020B0604020202020204" pitchFamily="34" charset="0"/>
              </a:rPr>
              <a:t>appele</a:t>
            </a:r>
            <a:r>
              <a:rPr lang="fr-FR" sz="2400" dirty="0">
                <a:solidFill>
                  <a:schemeClr val="bg1"/>
                </a:solidFill>
                <a:effectLst>
                  <a:outerShdw blurRad="38100" dist="38100" dir="2700000" algn="tl">
                    <a:srgbClr val="000000">
                      <a:alpha val="43137"/>
                    </a:srgbClr>
                  </a:outerShdw>
                </a:effectLst>
                <a:latin typeface="Arial" panose="020B0604020202020204" pitchFamily="34" charset="0"/>
              </a:rPr>
              <a:t> versioning, ou logiciel de gestion de version. </a:t>
            </a:r>
            <a:endParaRPr lang="fr-FR" sz="2400" b="0" i="0" dirty="0">
              <a:solidFill>
                <a:schemeClr val="bg1"/>
              </a:solidFill>
              <a:effectLst>
                <a:outerShdw blurRad="38100" dist="38100" dir="2700000" algn="tl">
                  <a:srgbClr val="000000">
                    <a:alpha val="43137"/>
                  </a:srgbClr>
                </a:outerShdw>
              </a:effectLst>
              <a:latin typeface="Arial" panose="020B0604020202020204" pitchFamily="34" charset="0"/>
            </a:endParaRPr>
          </a:p>
        </p:txBody>
      </p:sp>
      <p:pic>
        <p:nvPicPr>
          <p:cNvPr id="3" name="Graphique 2">
            <a:hlinkClick r:id="rId9" action="ppaction://hlinksldjump"/>
            <a:extLst>
              <a:ext uri="{FF2B5EF4-FFF2-40B4-BE49-F238E27FC236}">
                <a16:creationId xmlns:a16="http://schemas.microsoft.com/office/drawing/2014/main" id="{B9BCF61F-9E4E-4DD8-B814-B675A5762CB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551789" y="6202584"/>
            <a:ext cx="548855" cy="548855"/>
          </a:xfrm>
          <a:prstGeom prst="rect">
            <a:avLst/>
          </a:prstGeom>
        </p:spPr>
      </p:pic>
    </p:spTree>
    <p:extLst>
      <p:ext uri="{BB962C8B-B14F-4D97-AF65-F5344CB8AC3E}">
        <p14:creationId xmlns:p14="http://schemas.microsoft.com/office/powerpoint/2010/main" val="406841686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0" y="491490"/>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757203" y="3429000"/>
            <a:ext cx="11434797" cy="16312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0" dirty="0">
                <a:ln w="25400">
                  <a:solidFill>
                    <a:prstClr val="white"/>
                  </a:solidFill>
                </a:ln>
                <a:noFill/>
                <a:latin typeface="Gotham Black" pitchFamily="50" charset="0"/>
              </a:rPr>
              <a:t>GESTION DE VERSION</a:t>
            </a:r>
            <a:endParaRPr kumimoji="0" lang="en-US" sz="10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2808266080"/>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0" y="0"/>
            <a:ext cx="12192000" cy="6858000"/>
          </a:xfrm>
          <a:prstGeom prst="rect">
            <a:avLst/>
          </a:prstGeom>
          <a:solidFill>
            <a:srgbClr val="FFD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5" name="think-cell Slide" r:id="rId8" imgW="425" imgH="424" progId="TCLayout.ActiveDocument.1">
                  <p:embed/>
                </p:oleObj>
              </mc:Choice>
              <mc:Fallback>
                <p:oleObj name="think-cell Slide" r:id="rId8"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928272" y="381000"/>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rPr>
              <a:t>2</a:t>
            </a:r>
          </a:p>
        </p:txBody>
      </p:sp>
      <p:sp>
        <p:nvSpPr>
          <p:cNvPr id="10" name="TextBox 9">
            <a:extLst>
              <a:ext uri="{FF2B5EF4-FFF2-40B4-BE49-F238E27FC236}">
                <a16:creationId xmlns:a16="http://schemas.microsoft.com/office/drawing/2014/main" id="{2301A4A2-C7DF-4BA5-8607-F06B1E89B651}"/>
              </a:ext>
            </a:extLst>
          </p:cNvPr>
          <p:cNvSpPr txBox="1"/>
          <p:nvPr/>
        </p:nvSpPr>
        <p:spPr>
          <a:xfrm>
            <a:off x="1780452" y="613782"/>
            <a:ext cx="7610225" cy="1107996"/>
          </a:xfrm>
          <a:prstGeom prst="rect">
            <a:avLst/>
          </a:prstGeom>
          <a:noFill/>
        </p:spPr>
        <p:txBody>
          <a:bodyPr wrap="none" rtlCol="0">
            <a:spAutoFit/>
          </a:bodyPr>
          <a:lstStyle/>
          <a:p>
            <a:r>
              <a:rPr lang="en-US" sz="6600" dirty="0">
                <a:solidFill>
                  <a:schemeClr val="bg1"/>
                </a:solidFill>
                <a:effectLst>
                  <a:outerShdw blurRad="38100" dist="38100" dir="2700000" algn="tl">
                    <a:srgbClr val="000000">
                      <a:alpha val="43137"/>
                    </a:srgbClr>
                  </a:outerShdw>
                </a:effectLst>
                <a:latin typeface="Chewy" panose="02000000000000000000" pitchFamily="2" charset="0"/>
              </a:rPr>
              <a:t>GESTION DE VERSION</a:t>
            </a:r>
          </a:p>
        </p:txBody>
      </p:sp>
      <p:sp>
        <p:nvSpPr>
          <p:cNvPr id="12" name="TextBox 11">
            <a:extLst>
              <a:ext uri="{FF2B5EF4-FFF2-40B4-BE49-F238E27FC236}">
                <a16:creationId xmlns:a16="http://schemas.microsoft.com/office/drawing/2014/main" id="{37C6FDC7-9725-4B60-9EE7-8CF75CD73FDD}"/>
              </a:ext>
            </a:extLst>
          </p:cNvPr>
          <p:cNvSpPr txBox="1"/>
          <p:nvPr/>
        </p:nvSpPr>
        <p:spPr>
          <a:xfrm>
            <a:off x="1832687" y="3073724"/>
            <a:ext cx="7772400" cy="1600438"/>
          </a:xfrm>
          <a:prstGeom prst="rect">
            <a:avLst/>
          </a:prstGeom>
          <a:solidFill>
            <a:srgbClr val="463200">
              <a:alpha val="50000"/>
            </a:srgbClr>
          </a:solidFill>
        </p:spPr>
        <p:txBody>
          <a:bodyPr wrap="square" lIns="182880" tIns="182880" rIns="182880" bIns="182880" rtlCol="0">
            <a:spAutoFit/>
          </a:bodyPr>
          <a:lstStyle/>
          <a:p>
            <a:r>
              <a:rPr lang="fr-FR" sz="4000" dirty="0">
                <a:solidFill>
                  <a:schemeClr val="bg1"/>
                </a:solidFill>
                <a:effectLst>
                  <a:outerShdw blurRad="38100" dist="38100" dir="2700000" algn="tl">
                    <a:srgbClr val="000000">
                      <a:alpha val="43137"/>
                    </a:srgbClr>
                  </a:outerShdw>
                </a:effectLst>
                <a:latin typeface="Arial" panose="020B0604020202020204" pitchFamily="34" charset="0"/>
              </a:rPr>
              <a:t>A quoi sert concrètement un système de gestion de version ?</a:t>
            </a:r>
          </a:p>
        </p:txBody>
      </p:sp>
      <p:pic>
        <p:nvPicPr>
          <p:cNvPr id="16" name="Graphique 15">
            <a:hlinkClick r:id="rId10" action="ppaction://hlinksldjump"/>
            <a:extLst>
              <a:ext uri="{FF2B5EF4-FFF2-40B4-BE49-F238E27FC236}">
                <a16:creationId xmlns:a16="http://schemas.microsoft.com/office/drawing/2014/main" id="{1ECA748B-98C8-4FAE-857B-DB983E72F0F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551789" y="6202584"/>
            <a:ext cx="548855" cy="548855"/>
          </a:xfrm>
          <a:prstGeom prst="rect">
            <a:avLst/>
          </a:prstGeom>
        </p:spPr>
      </p:pic>
    </p:spTree>
    <p:extLst>
      <p:ext uri="{BB962C8B-B14F-4D97-AF65-F5344CB8AC3E}">
        <p14:creationId xmlns:p14="http://schemas.microsoft.com/office/powerpoint/2010/main" val="327802949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105399" y="491491"/>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3334579" y="2741773"/>
            <a:ext cx="9011570" cy="2754600"/>
          </a:xfrm>
          <a:prstGeom prst="rect">
            <a:avLst/>
          </a:prstGeom>
          <a:noFill/>
        </p:spPr>
        <p:txBody>
          <a:bodyPr wrap="none" rtlCol="0">
            <a:spAutoFit/>
          </a:bodyPr>
          <a:lstStyle/>
          <a:p>
            <a:pPr lvl="0">
              <a:defRPr/>
            </a:pPr>
            <a:r>
              <a:rPr lang="en-US" sz="17300" dirty="0">
                <a:ln w="25400">
                  <a:solidFill>
                    <a:prstClr val="white"/>
                  </a:solidFill>
                </a:ln>
                <a:noFill/>
                <a:latin typeface="Gotham Black" pitchFamily="50" charset="0"/>
              </a:rPr>
              <a:t>MODÈLES</a:t>
            </a:r>
            <a:endParaRPr kumimoji="0" lang="en-US" sz="173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1771793785"/>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0" y="0"/>
            <a:ext cx="12192000" cy="6858000"/>
          </a:xfrm>
          <a:prstGeom prst="rect">
            <a:avLst/>
          </a:prstGeom>
          <a:solidFill>
            <a:srgbClr val="FFD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784888" y="-4400659"/>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1" name="think-cell Slide" r:id="rId8" imgW="425" imgH="424" progId="TCLayout.ActiveDocument.1">
                  <p:embed/>
                </p:oleObj>
              </mc:Choice>
              <mc:Fallback>
                <p:oleObj name="think-cell Slide" r:id="rId8"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928272" y="381000"/>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0" dirty="0">
                <a:ln w="25400">
                  <a:solidFill>
                    <a:prstClr val="white"/>
                  </a:solidFill>
                </a:ln>
                <a:noFill/>
                <a:latin typeface="Gotham Black" pitchFamily="50" charset="0"/>
              </a:rPr>
              <a:t>3</a:t>
            </a:r>
            <a:endPar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0" name="TextBox 9">
            <a:extLst>
              <a:ext uri="{FF2B5EF4-FFF2-40B4-BE49-F238E27FC236}">
                <a16:creationId xmlns:a16="http://schemas.microsoft.com/office/drawing/2014/main" id="{2301A4A2-C7DF-4BA5-8607-F06B1E89B651}"/>
              </a:ext>
            </a:extLst>
          </p:cNvPr>
          <p:cNvSpPr txBox="1"/>
          <p:nvPr/>
        </p:nvSpPr>
        <p:spPr>
          <a:xfrm>
            <a:off x="1780452" y="613782"/>
            <a:ext cx="9765785" cy="1754326"/>
          </a:xfrm>
          <a:prstGeom prst="rect">
            <a:avLst/>
          </a:prstGeom>
          <a:noFill/>
        </p:spPr>
        <p:txBody>
          <a:bodyPr wrap="square" rtlCol="0">
            <a:spAutoFit/>
          </a:bodyPr>
          <a:lstStyle/>
          <a:p>
            <a:pPr algn="ctr"/>
            <a:r>
              <a:rPr lang="fr-FR" sz="5400" dirty="0">
                <a:solidFill>
                  <a:schemeClr val="bg1"/>
                </a:solidFill>
                <a:effectLst>
                  <a:outerShdw blurRad="38100" dist="38100" dir="2700000" algn="tl">
                    <a:srgbClr val="000000">
                      <a:alpha val="43137"/>
                    </a:srgbClr>
                  </a:outerShdw>
                </a:effectLst>
                <a:latin typeface="Chewy" panose="02000000000000000000" pitchFamily="2" charset="0"/>
              </a:rPr>
              <a:t>Modèles des logiciels de gestion de version</a:t>
            </a:r>
          </a:p>
        </p:txBody>
      </p:sp>
      <p:pic>
        <p:nvPicPr>
          <p:cNvPr id="21" name="Picture 20">
            <a:extLst>
              <a:ext uri="{FF2B5EF4-FFF2-40B4-BE49-F238E27FC236}">
                <a16:creationId xmlns:a16="http://schemas.microsoft.com/office/drawing/2014/main" id="{C64C1D31-3E1E-468D-A1A0-A9B06AAB8162}"/>
              </a:ext>
            </a:extLst>
          </p:cNvPr>
          <p:cNvPicPr>
            <a:picLocks noChangeAspect="1"/>
          </p:cNvPicPr>
          <p:nvPr/>
        </p:nvPicPr>
        <p:blipFill>
          <a:blip r:embed="rId10"/>
          <a:stretch>
            <a:fillRect/>
          </a:stretch>
        </p:blipFill>
        <p:spPr>
          <a:xfrm>
            <a:off x="5588172" y="4664553"/>
            <a:ext cx="1097280" cy="988665"/>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1714595F-3A7D-4C7A-89CB-42480388993B}"/>
              </a:ext>
            </a:extLst>
          </p:cNvPr>
          <p:cNvSpPr/>
          <p:nvPr/>
        </p:nvSpPr>
        <p:spPr>
          <a:xfrm>
            <a:off x="2250612" y="4223236"/>
            <a:ext cx="7772400" cy="1871300"/>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20B526DE-FA16-40BC-8665-117E71727B09}"/>
              </a:ext>
            </a:extLst>
          </p:cNvPr>
          <p:cNvSpPr txBox="1"/>
          <p:nvPr/>
        </p:nvSpPr>
        <p:spPr>
          <a:xfrm>
            <a:off x="2742788" y="3628301"/>
            <a:ext cx="723467" cy="323165"/>
          </a:xfrm>
          <a:prstGeom prst="rect">
            <a:avLst/>
          </a:prstGeom>
          <a:solidFill>
            <a:srgbClr val="46320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solidFill>
                  <a:prstClr val="white"/>
                </a:solidFill>
                <a:latin typeface="Gotham Black" pitchFamily="50" charset="0"/>
              </a:rPr>
              <a:t>IMAGE</a:t>
            </a:r>
            <a:endPar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endParaRPr>
          </a:p>
        </p:txBody>
      </p:sp>
      <p:pic>
        <p:nvPicPr>
          <p:cNvPr id="23" name="Picture 22">
            <a:extLst>
              <a:ext uri="{FF2B5EF4-FFF2-40B4-BE49-F238E27FC236}">
                <a16:creationId xmlns:a16="http://schemas.microsoft.com/office/drawing/2014/main" id="{61E29E92-FC94-5F40-9A1C-1102C769BEBB}"/>
              </a:ext>
            </a:extLst>
          </p:cNvPr>
          <p:cNvPicPr>
            <a:picLocks noChangeAspect="1"/>
          </p:cNvPicPr>
          <p:nvPr/>
        </p:nvPicPr>
        <p:blipFill>
          <a:blip r:embed="rId10"/>
          <a:stretch>
            <a:fillRect/>
          </a:stretch>
        </p:blipFill>
        <p:spPr>
          <a:xfrm>
            <a:off x="-7293650" y="1767498"/>
            <a:ext cx="4926842" cy="4439160"/>
          </a:xfrm>
          <a:prstGeom prst="rect">
            <a:avLst/>
          </a:prstGeom>
        </p:spPr>
      </p:pic>
      <p:pic>
        <p:nvPicPr>
          <p:cNvPr id="16" name="Graphique 15">
            <a:hlinkClick r:id="rId11" action="ppaction://hlinksldjump"/>
            <a:extLst>
              <a:ext uri="{FF2B5EF4-FFF2-40B4-BE49-F238E27FC236}">
                <a16:creationId xmlns:a16="http://schemas.microsoft.com/office/drawing/2014/main" id="{8A057B5D-E62D-47CD-B656-92785273D17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551789" y="6202584"/>
            <a:ext cx="548855" cy="548855"/>
          </a:xfrm>
          <a:prstGeom prst="rect">
            <a:avLst/>
          </a:prstGeom>
        </p:spPr>
      </p:pic>
    </p:spTree>
    <p:extLst>
      <p:ext uri="{BB962C8B-B14F-4D97-AF65-F5344CB8AC3E}">
        <p14:creationId xmlns:p14="http://schemas.microsoft.com/office/powerpoint/2010/main" val="362764042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49" presetClass="entr" presetSubtype="0" decel="100000"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p:cTn id="11" dur="500" fill="hold"/>
                                        <p:tgtEl>
                                          <p:spTgt spid="21"/>
                                        </p:tgtEl>
                                        <p:attrNameLst>
                                          <p:attrName>ppt_w</p:attrName>
                                        </p:attrNameLst>
                                      </p:cBhvr>
                                      <p:tavLst>
                                        <p:tav tm="0">
                                          <p:val>
                                            <p:fltVal val="0"/>
                                          </p:val>
                                        </p:tav>
                                        <p:tav tm="100000">
                                          <p:val>
                                            <p:strVal val="#ppt_w"/>
                                          </p:val>
                                        </p:tav>
                                      </p:tavLst>
                                    </p:anim>
                                    <p:anim calcmode="lin" valueType="num">
                                      <p:cBhvr>
                                        <p:cTn id="12" dur="500" fill="hold"/>
                                        <p:tgtEl>
                                          <p:spTgt spid="21"/>
                                        </p:tgtEl>
                                        <p:attrNameLst>
                                          <p:attrName>ppt_h</p:attrName>
                                        </p:attrNameLst>
                                      </p:cBhvr>
                                      <p:tavLst>
                                        <p:tav tm="0">
                                          <p:val>
                                            <p:fltVal val="0"/>
                                          </p:val>
                                        </p:tav>
                                        <p:tav tm="100000">
                                          <p:val>
                                            <p:strVal val="#ppt_h"/>
                                          </p:val>
                                        </p:tav>
                                      </p:tavLst>
                                    </p:anim>
                                    <p:anim calcmode="lin" valueType="num">
                                      <p:cBhvr>
                                        <p:cTn id="13" dur="500" fill="hold"/>
                                        <p:tgtEl>
                                          <p:spTgt spid="21"/>
                                        </p:tgtEl>
                                        <p:attrNameLst>
                                          <p:attrName>style.rotation</p:attrName>
                                        </p:attrNameLst>
                                      </p:cBhvr>
                                      <p:tavLst>
                                        <p:tav tm="0">
                                          <p:val>
                                            <p:fltVal val="360"/>
                                          </p:val>
                                        </p:tav>
                                        <p:tav tm="100000">
                                          <p:val>
                                            <p:fltVal val="0"/>
                                          </p:val>
                                        </p:tav>
                                      </p:tavLst>
                                    </p:anim>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5" restart="whenNotActive" fill="hold" evtFilter="cancelBubble" nodeType="interactiveSeq">
                <p:stCondLst>
                  <p:cond evt="onClick" delay="0">
                    <p:tgtEl>
                      <p:spTgt spid="21"/>
                    </p:tgtEl>
                  </p:cond>
                </p:stCondLst>
                <p:endSync evt="end" delay="0">
                  <p:rtn val="all"/>
                </p:endSync>
                <p:childTnLst>
                  <p:par>
                    <p:cTn id="16" fill="hold">
                      <p:stCondLst>
                        <p:cond delay="0"/>
                      </p:stCondLst>
                      <p:childTnLst>
                        <p:par>
                          <p:cTn id="17" fill="hold">
                            <p:stCondLst>
                              <p:cond delay="0"/>
                            </p:stCondLst>
                            <p:childTnLst>
                              <p:par>
                                <p:cTn id="18" presetID="42" presetClass="path" presetSubtype="0" accel="50000" decel="50000" fill="hold" nodeType="clickEffect">
                                  <p:stCondLst>
                                    <p:cond delay="0"/>
                                  </p:stCondLst>
                                  <p:childTnLst>
                                    <p:animMotion origin="layout" path="M 0.89609 -0.01134 L 0.89609 0.82639 " pathEditMode="fixed" rAng="0" ptsTypes="AA">
                                      <p:cBhvr>
                                        <p:cTn id="19" dur="1000" spd="-100000" fill="hold"/>
                                        <p:tgtEl>
                                          <p:spTgt spid="23"/>
                                        </p:tgtEl>
                                        <p:attrNameLst>
                                          <p:attrName>ppt_x</p:attrName>
                                          <p:attrName>ppt_y</p:attrName>
                                        </p:attrNameLst>
                                      </p:cBhvr>
                                      <p:rCtr x="0" y="41875"/>
                                    </p:animMotion>
                                  </p:childTnLst>
                                </p:cTn>
                              </p:par>
                            </p:childTnLst>
                          </p:cTn>
                        </p:par>
                      </p:childTnLst>
                    </p:cTn>
                  </p:par>
                </p:childTnLst>
              </p:cTn>
              <p:nextCondLst>
                <p:cond evt="onClick" delay="0">
                  <p:tgtEl>
                    <p:spTgt spid="21"/>
                  </p:tgtEl>
                </p:cond>
              </p:nextCondLst>
            </p:seq>
            <p:seq concurrent="1" nextAc="seek">
              <p:cTn id="20" restart="whenNotActive" fill="hold" evtFilter="cancelBubble" nodeType="interactiveSeq">
                <p:stCondLst>
                  <p:cond evt="onClick" delay="0">
                    <p:tgtEl>
                      <p:spTgt spid="23"/>
                    </p:tgtEl>
                  </p:cond>
                </p:stCondLst>
                <p:endSync evt="end" delay="0">
                  <p:rtn val="all"/>
                </p:endSync>
                <p:childTnLst>
                  <p:par>
                    <p:cTn id="21" fill="hold">
                      <p:stCondLst>
                        <p:cond delay="0"/>
                      </p:stCondLst>
                      <p:childTnLst>
                        <p:par>
                          <p:cTn id="22" fill="hold">
                            <p:stCondLst>
                              <p:cond delay="0"/>
                            </p:stCondLst>
                            <p:childTnLst>
                              <p:par>
                                <p:cTn id="23" presetID="42" presetClass="path" presetSubtype="0" accel="50000" decel="50000" fill="hold" nodeType="clickEffect">
                                  <p:stCondLst>
                                    <p:cond delay="0"/>
                                  </p:stCondLst>
                                  <p:childTnLst>
                                    <p:animMotion origin="layout" path="M 0.89609 -0.01134 L 0.89609 0.78773 " pathEditMode="fixed" rAng="0" ptsTypes="AA">
                                      <p:cBhvr>
                                        <p:cTn id="24" dur="500" fill="hold"/>
                                        <p:tgtEl>
                                          <p:spTgt spid="23"/>
                                        </p:tgtEl>
                                        <p:attrNameLst>
                                          <p:attrName>ppt_x</p:attrName>
                                          <p:attrName>ppt_y</p:attrName>
                                        </p:attrNameLst>
                                      </p:cBhvr>
                                      <p:rCtr x="0" y="39954"/>
                                    </p:animMotion>
                                  </p:childTnLst>
                                </p:cTn>
                              </p:par>
                            </p:childTnLst>
                          </p:cTn>
                        </p:par>
                      </p:childTnLst>
                    </p:cTn>
                  </p:par>
                </p:childTnLst>
              </p:cTn>
              <p:nextCondLst>
                <p:cond evt="onClick" delay="0">
                  <p:tgtEl>
                    <p:spTgt spid="23"/>
                  </p:tgtEl>
                </p:cond>
              </p:nextCondLst>
            </p:seq>
          </p:childTnLst>
        </p:cTn>
      </p:par>
    </p:tnLst>
    <p:bldLst>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528744" y="491492"/>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4955724" y="2411893"/>
            <a:ext cx="7236276" cy="27546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300" b="0" i="0" u="none" strike="noStrike" kern="1200" cap="none" spc="0" normalizeH="0" baseline="0" noProof="0" dirty="0">
                <a:ln w="25400">
                  <a:solidFill>
                    <a:prstClr val="white"/>
                  </a:solidFill>
                </a:ln>
                <a:noFill/>
                <a:effectLst/>
                <a:uLnTx/>
                <a:uFillTx/>
                <a:latin typeface="Gotham Black" pitchFamily="50" charset="0"/>
                <a:ea typeface="+mn-ea"/>
                <a:cs typeface="+mn-cs"/>
              </a:rPr>
              <a:t>GITHUB</a:t>
            </a: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3483355651"/>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0" y="0"/>
            <a:ext cx="12192000" cy="6858000"/>
          </a:xfrm>
          <a:prstGeom prst="rect">
            <a:avLst/>
          </a:prstGeom>
          <a:solidFill>
            <a:srgbClr val="FFD266"/>
          </a:solidFill>
          <a:ln>
            <a:noFill/>
          </a:ln>
          <a:effectLst>
            <a:outerShdw blurRad="50800" dist="50800" dir="30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0" name="think-cell Slide" r:id="rId8" imgW="425" imgH="424" progId="TCLayout.ActiveDocument.1">
                  <p:embed/>
                </p:oleObj>
              </mc:Choice>
              <mc:Fallback>
                <p:oleObj name="think-cell Slide" r:id="rId8"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3655974" y="381000"/>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0" dirty="0">
                <a:ln w="25400">
                  <a:solidFill>
                    <a:prstClr val="white"/>
                  </a:solidFill>
                </a:ln>
                <a:noFill/>
                <a:latin typeface="Gotham Black" pitchFamily="50" charset="0"/>
              </a:rPr>
              <a:t>4</a:t>
            </a:r>
            <a:endPar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0" name="TextBox 9">
            <a:extLst>
              <a:ext uri="{FF2B5EF4-FFF2-40B4-BE49-F238E27FC236}">
                <a16:creationId xmlns:a16="http://schemas.microsoft.com/office/drawing/2014/main" id="{2301A4A2-C7DF-4BA5-8607-F06B1E89B651}"/>
              </a:ext>
            </a:extLst>
          </p:cNvPr>
          <p:cNvSpPr txBox="1"/>
          <p:nvPr/>
        </p:nvSpPr>
        <p:spPr>
          <a:xfrm>
            <a:off x="4554647" y="613782"/>
            <a:ext cx="2874505" cy="1107996"/>
          </a:xfrm>
          <a:prstGeom prst="rect">
            <a:avLst/>
          </a:prstGeom>
          <a:noFill/>
        </p:spPr>
        <p:txBody>
          <a:bodyPr wrap="none" rtlCol="0">
            <a:spAutoFit/>
          </a:bodyPr>
          <a:lstStyle/>
          <a:p>
            <a:pPr algn="ctr"/>
            <a:r>
              <a:rPr lang="en-US" sz="6600" b="0" i="0" dirty="0">
                <a:solidFill>
                  <a:schemeClr val="bg1"/>
                </a:solidFill>
                <a:effectLst>
                  <a:outerShdw blurRad="38100" dist="38100" dir="2700000" algn="tl">
                    <a:srgbClr val="000000">
                      <a:alpha val="43137"/>
                    </a:srgbClr>
                  </a:outerShdw>
                </a:effectLst>
                <a:latin typeface="Chewy" panose="02000000000000000000" pitchFamily="2" charset="0"/>
              </a:rPr>
              <a:t>GITHUB</a:t>
            </a:r>
          </a:p>
        </p:txBody>
      </p:sp>
      <p:sp>
        <p:nvSpPr>
          <p:cNvPr id="12" name="TextBox 11">
            <a:extLst>
              <a:ext uri="{FF2B5EF4-FFF2-40B4-BE49-F238E27FC236}">
                <a16:creationId xmlns:a16="http://schemas.microsoft.com/office/drawing/2014/main" id="{37C6FDC7-9725-4B60-9EE7-8CF75CD73FDD}"/>
              </a:ext>
            </a:extLst>
          </p:cNvPr>
          <p:cNvSpPr txBox="1"/>
          <p:nvPr/>
        </p:nvSpPr>
        <p:spPr>
          <a:xfrm>
            <a:off x="1438113" y="1898285"/>
            <a:ext cx="9801386" cy="3077766"/>
          </a:xfrm>
          <a:prstGeom prst="rect">
            <a:avLst/>
          </a:prstGeom>
          <a:solidFill>
            <a:srgbClr val="463200">
              <a:alpha val="50000"/>
            </a:srgbClr>
          </a:solidFill>
        </p:spPr>
        <p:txBody>
          <a:bodyPr wrap="square" lIns="182880" tIns="182880" rIns="182880" bIns="182880" rtlCol="0">
            <a:spAutoFit/>
          </a:bodyPr>
          <a:lstStyle/>
          <a:p>
            <a:endParaRPr lang="fr-FR" sz="1600" dirty="0">
              <a:solidFill>
                <a:schemeClr val="bg1"/>
              </a:solidFill>
              <a:effectLst>
                <a:outerShdw blurRad="38100" dist="38100" dir="2700000" algn="tl">
                  <a:srgbClr val="000000">
                    <a:alpha val="43137"/>
                  </a:srgbClr>
                </a:outerShdw>
              </a:effectLst>
              <a:latin typeface="Arial" panose="020B0604020202020204" pitchFamily="34" charset="0"/>
            </a:endParaRPr>
          </a:p>
          <a:p>
            <a:r>
              <a:rPr lang="fr-FR" sz="2000" dirty="0">
                <a:solidFill>
                  <a:schemeClr val="bg1"/>
                </a:solidFill>
                <a:effectLst>
                  <a:outerShdw blurRad="38100" dist="38100" dir="2700000" algn="tl">
                    <a:srgbClr val="000000">
                      <a:alpha val="43137"/>
                    </a:srgbClr>
                  </a:outerShdw>
                </a:effectLst>
                <a:latin typeface="Arial" panose="020B0604020202020204" pitchFamily="34" charset="0"/>
              </a:rPr>
              <a:t>GitHub est un site web majeur pour stocker des copies de projets Git. Git est un outil qui enregistre les modifications dans un projet et permet de revenir à des versions antérieures si nécessaire. Les copies des projets, appelées "dépôts" (ou "repositories" en anglais), sont stockées sur un serveur central. La plupart des projets sur GitHub sont publics, ce qui signifie que n'importe qui peut télécharger les fichiers et contribuer en ajoutant de nouvelles fonctionnalités. En bref, Git gère les versions, et GitHub est une plateforme en ligne qui héberge ces copies de projets pour la collaboration.</a:t>
            </a:r>
            <a:endParaRPr lang="fr-FR" sz="2000" b="0" i="0" dirty="0">
              <a:solidFill>
                <a:schemeClr val="bg1"/>
              </a:solidFill>
              <a:effectLst>
                <a:outerShdw blurRad="38100" dist="38100" dir="2700000" algn="tl">
                  <a:srgbClr val="000000">
                    <a:alpha val="43137"/>
                  </a:srgbClr>
                </a:outerShdw>
              </a:effectLst>
              <a:latin typeface="Arial" panose="020B0604020202020204" pitchFamily="34" charset="0"/>
            </a:endParaRPr>
          </a:p>
        </p:txBody>
      </p:sp>
      <p:pic>
        <p:nvPicPr>
          <p:cNvPr id="21" name="Picture 20">
            <a:extLst>
              <a:ext uri="{FF2B5EF4-FFF2-40B4-BE49-F238E27FC236}">
                <a16:creationId xmlns:a16="http://schemas.microsoft.com/office/drawing/2014/main" id="{C64C1D31-3E1E-468D-A1A0-A9B06AAB8162}"/>
              </a:ext>
            </a:extLst>
          </p:cNvPr>
          <p:cNvPicPr>
            <a:picLocks noChangeAspect="1"/>
          </p:cNvPicPr>
          <p:nvPr/>
        </p:nvPicPr>
        <p:blipFill>
          <a:blip r:embed="rId10"/>
          <a:stretch>
            <a:fillRect/>
          </a:stretch>
        </p:blipFill>
        <p:spPr>
          <a:xfrm>
            <a:off x="5649626" y="5664890"/>
            <a:ext cx="892747" cy="878141"/>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1714595F-3A7D-4C7A-89CB-42480388993B}"/>
              </a:ext>
            </a:extLst>
          </p:cNvPr>
          <p:cNvSpPr/>
          <p:nvPr/>
        </p:nvSpPr>
        <p:spPr>
          <a:xfrm>
            <a:off x="2209801" y="5648374"/>
            <a:ext cx="7772400" cy="911174"/>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20B526DE-FA16-40BC-8665-117E71727B09}"/>
              </a:ext>
            </a:extLst>
          </p:cNvPr>
          <p:cNvSpPr txBox="1"/>
          <p:nvPr/>
        </p:nvSpPr>
        <p:spPr>
          <a:xfrm>
            <a:off x="2260384" y="5316597"/>
            <a:ext cx="723467" cy="323165"/>
          </a:xfrm>
          <a:prstGeom prst="rect">
            <a:avLst/>
          </a:prstGeom>
          <a:solidFill>
            <a:srgbClr val="46320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solidFill>
                  <a:prstClr val="white"/>
                </a:solidFill>
                <a:latin typeface="Gotham Black" pitchFamily="50" charset="0"/>
              </a:rPr>
              <a:t>IMAGE</a:t>
            </a:r>
            <a:endPar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endParaRPr>
          </a:p>
        </p:txBody>
      </p:sp>
      <p:pic>
        <p:nvPicPr>
          <p:cNvPr id="23" name="Picture 22">
            <a:extLst>
              <a:ext uri="{FF2B5EF4-FFF2-40B4-BE49-F238E27FC236}">
                <a16:creationId xmlns:a16="http://schemas.microsoft.com/office/drawing/2014/main" id="{61E29E92-FC94-5F40-9A1C-1102C769BEBB}"/>
              </a:ext>
            </a:extLst>
          </p:cNvPr>
          <p:cNvPicPr>
            <a:picLocks noChangeAspect="1"/>
          </p:cNvPicPr>
          <p:nvPr/>
        </p:nvPicPr>
        <p:blipFill>
          <a:blip r:embed="rId10"/>
          <a:stretch>
            <a:fillRect/>
          </a:stretch>
        </p:blipFill>
        <p:spPr>
          <a:xfrm>
            <a:off x="-9036469" y="2751912"/>
            <a:ext cx="8412480" cy="2470332"/>
          </a:xfrm>
          <a:prstGeom prst="rect">
            <a:avLst/>
          </a:prstGeom>
        </p:spPr>
      </p:pic>
      <p:pic>
        <p:nvPicPr>
          <p:cNvPr id="16" name="Graphique 15">
            <a:hlinkClick r:id="rId11" action="ppaction://hlinksldjump"/>
            <a:extLst>
              <a:ext uri="{FF2B5EF4-FFF2-40B4-BE49-F238E27FC236}">
                <a16:creationId xmlns:a16="http://schemas.microsoft.com/office/drawing/2014/main" id="{B8956004-BC7E-4D8C-89F1-DC560295C57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551789" y="6202584"/>
            <a:ext cx="548855" cy="548855"/>
          </a:xfrm>
          <a:prstGeom prst="rect">
            <a:avLst/>
          </a:prstGeom>
        </p:spPr>
      </p:pic>
    </p:spTree>
    <p:extLst>
      <p:ext uri="{BB962C8B-B14F-4D97-AF65-F5344CB8AC3E}">
        <p14:creationId xmlns:p14="http://schemas.microsoft.com/office/powerpoint/2010/main" val="405475819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49" presetClass="entr" presetSubtype="0" decel="100000"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p:cTn id="11" dur="500" fill="hold"/>
                                        <p:tgtEl>
                                          <p:spTgt spid="21"/>
                                        </p:tgtEl>
                                        <p:attrNameLst>
                                          <p:attrName>ppt_w</p:attrName>
                                        </p:attrNameLst>
                                      </p:cBhvr>
                                      <p:tavLst>
                                        <p:tav tm="0">
                                          <p:val>
                                            <p:fltVal val="0"/>
                                          </p:val>
                                        </p:tav>
                                        <p:tav tm="100000">
                                          <p:val>
                                            <p:strVal val="#ppt_w"/>
                                          </p:val>
                                        </p:tav>
                                      </p:tavLst>
                                    </p:anim>
                                    <p:anim calcmode="lin" valueType="num">
                                      <p:cBhvr>
                                        <p:cTn id="12" dur="500" fill="hold"/>
                                        <p:tgtEl>
                                          <p:spTgt spid="21"/>
                                        </p:tgtEl>
                                        <p:attrNameLst>
                                          <p:attrName>ppt_h</p:attrName>
                                        </p:attrNameLst>
                                      </p:cBhvr>
                                      <p:tavLst>
                                        <p:tav tm="0">
                                          <p:val>
                                            <p:fltVal val="0"/>
                                          </p:val>
                                        </p:tav>
                                        <p:tav tm="100000">
                                          <p:val>
                                            <p:strVal val="#ppt_h"/>
                                          </p:val>
                                        </p:tav>
                                      </p:tavLst>
                                    </p:anim>
                                    <p:anim calcmode="lin" valueType="num">
                                      <p:cBhvr>
                                        <p:cTn id="13" dur="500" fill="hold"/>
                                        <p:tgtEl>
                                          <p:spTgt spid="21"/>
                                        </p:tgtEl>
                                        <p:attrNameLst>
                                          <p:attrName>style.rotation</p:attrName>
                                        </p:attrNameLst>
                                      </p:cBhvr>
                                      <p:tavLst>
                                        <p:tav tm="0">
                                          <p:val>
                                            <p:fltVal val="360"/>
                                          </p:val>
                                        </p:tav>
                                        <p:tav tm="100000">
                                          <p:val>
                                            <p:fltVal val="0"/>
                                          </p:val>
                                        </p:tav>
                                      </p:tavLst>
                                    </p:anim>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5" restart="whenNotActive" fill="hold" evtFilter="cancelBubble" nodeType="interactiveSeq">
                <p:stCondLst>
                  <p:cond evt="onClick" delay="0">
                    <p:tgtEl>
                      <p:spTgt spid="21"/>
                    </p:tgtEl>
                  </p:cond>
                </p:stCondLst>
                <p:endSync evt="end" delay="0">
                  <p:rtn val="all"/>
                </p:endSync>
                <p:childTnLst>
                  <p:par>
                    <p:cTn id="16" fill="hold">
                      <p:stCondLst>
                        <p:cond delay="0"/>
                      </p:stCondLst>
                      <p:childTnLst>
                        <p:par>
                          <p:cTn id="17" fill="hold">
                            <p:stCondLst>
                              <p:cond delay="0"/>
                            </p:stCondLst>
                            <p:childTnLst>
                              <p:par>
                                <p:cTn id="18" presetID="42" presetClass="path" presetSubtype="0" accel="50000" decel="50000" fill="hold" nodeType="clickEffect">
                                  <p:stCondLst>
                                    <p:cond delay="0"/>
                                  </p:stCondLst>
                                  <p:childTnLst>
                                    <p:animMotion origin="layout" path="M 0.89609 -0.01134 L 0.89609 0.82639 " pathEditMode="fixed" rAng="0" ptsTypes="AA">
                                      <p:cBhvr>
                                        <p:cTn id="19" dur="1000" spd="-100000" fill="hold"/>
                                        <p:tgtEl>
                                          <p:spTgt spid="23"/>
                                        </p:tgtEl>
                                        <p:attrNameLst>
                                          <p:attrName>ppt_x</p:attrName>
                                          <p:attrName>ppt_y</p:attrName>
                                        </p:attrNameLst>
                                      </p:cBhvr>
                                      <p:rCtr x="0" y="41875"/>
                                    </p:animMotion>
                                  </p:childTnLst>
                                </p:cTn>
                              </p:par>
                            </p:childTnLst>
                          </p:cTn>
                        </p:par>
                      </p:childTnLst>
                    </p:cTn>
                  </p:par>
                </p:childTnLst>
              </p:cTn>
              <p:nextCondLst>
                <p:cond evt="onClick" delay="0">
                  <p:tgtEl>
                    <p:spTgt spid="21"/>
                  </p:tgtEl>
                </p:cond>
              </p:nextCondLst>
            </p:seq>
            <p:seq concurrent="1" nextAc="seek">
              <p:cTn id="20" restart="whenNotActive" fill="hold" evtFilter="cancelBubble" nodeType="interactiveSeq">
                <p:stCondLst>
                  <p:cond evt="onClick" delay="0">
                    <p:tgtEl>
                      <p:spTgt spid="23"/>
                    </p:tgtEl>
                  </p:cond>
                </p:stCondLst>
                <p:endSync evt="end" delay="0">
                  <p:rtn val="all"/>
                </p:endSync>
                <p:childTnLst>
                  <p:par>
                    <p:cTn id="21" fill="hold">
                      <p:stCondLst>
                        <p:cond delay="0"/>
                      </p:stCondLst>
                      <p:childTnLst>
                        <p:par>
                          <p:cTn id="22" fill="hold">
                            <p:stCondLst>
                              <p:cond delay="0"/>
                            </p:stCondLst>
                            <p:childTnLst>
                              <p:par>
                                <p:cTn id="23" presetID="42" presetClass="path" presetSubtype="0" accel="50000" decel="50000" fill="hold" nodeType="clickEffect">
                                  <p:stCondLst>
                                    <p:cond delay="0"/>
                                  </p:stCondLst>
                                  <p:childTnLst>
                                    <p:animMotion origin="layout" path="M 0.89609 -0.01134 L 0.89609 0.78773 " pathEditMode="fixed" rAng="0" ptsTypes="AA">
                                      <p:cBhvr>
                                        <p:cTn id="24" dur="500" fill="hold"/>
                                        <p:tgtEl>
                                          <p:spTgt spid="23"/>
                                        </p:tgtEl>
                                        <p:attrNameLst>
                                          <p:attrName>ppt_x</p:attrName>
                                          <p:attrName>ppt_y</p:attrName>
                                        </p:attrNameLst>
                                      </p:cBhvr>
                                      <p:rCtr x="0" y="39954"/>
                                    </p:animMotion>
                                  </p:childTnLst>
                                </p:cTn>
                              </p:par>
                            </p:childTnLst>
                          </p:cTn>
                        </p:par>
                      </p:childTnLst>
                    </p:cTn>
                  </p:par>
                </p:childTnLst>
              </p:cTn>
              <p:nextCondLst>
                <p:cond evt="onClick" delay="0">
                  <p:tgtEl>
                    <p:spTgt spid="23"/>
                  </p:tgtEl>
                </p:cond>
              </p:nextCondLst>
            </p:seq>
          </p:childTnLst>
        </p:cTn>
      </p:par>
    </p:tnLst>
    <p:bldLst>
      <p:bldP spid="2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320881" y="3120780"/>
            <a:ext cx="4507204" cy="830997"/>
          </a:xfrm>
          <a:prstGeom prst="rect">
            <a:avLst/>
          </a:prstGeom>
          <a:noFill/>
        </p:spPr>
        <p:txBody>
          <a:bodyPr wrap="square" rtlCol="0">
            <a:spAutoFit/>
          </a:bodyPr>
          <a:lstStyle/>
          <a:p>
            <a:r>
              <a:rPr lang="fr-FR" sz="2400" dirty="0">
                <a:solidFill>
                  <a:schemeClr val="bg1"/>
                </a:solidFill>
              </a:rPr>
              <a:t>Cette commande est utilisée pour créer un nouveau dépôt GIT </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5620" y="533575"/>
            <a:ext cx="1166489" cy="1166489"/>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898069" y="5232705"/>
            <a:ext cx="1888621"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a:t>
            </a:r>
            <a:r>
              <a:rPr lang="en-US" sz="2400" dirty="0" err="1">
                <a:solidFill>
                  <a:schemeClr val="bg2">
                    <a:lumMod val="50000"/>
                  </a:schemeClr>
                </a:solidFill>
                <a:latin typeface="Segoe UI" panose="020B0502040204020203" pitchFamily="34" charset="0"/>
                <a:cs typeface="Segoe UI" panose="020B0502040204020203" pitchFamily="34" charset="0"/>
              </a:rPr>
              <a:t>init</a:t>
            </a:r>
            <a:endParaRPr lang="en-US" sz="2400" dirty="0">
              <a:solidFill>
                <a:schemeClr val="bg2">
                  <a:lumMod val="50000"/>
                </a:schemeClr>
              </a:solidFill>
              <a:latin typeface="Segoe UI" panose="020B0502040204020203" pitchFamily="34" charset="0"/>
              <a:cs typeface="Segoe UI" panose="020B0502040204020203" pitchFamily="34" charset="0"/>
            </a:endParaRP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3406665"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INIT</a:t>
            </a:r>
            <a:endParaRPr lang="en-LT" sz="44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8896442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alpha val="12000"/>
          </a:schemeClr>
        </a:solidFill>
        <a:effectLst/>
      </p:bgPr>
    </p:bg>
    <p:spTree>
      <p:nvGrpSpPr>
        <p:cNvPr id="1" name=""/>
        <p:cNvGrpSpPr/>
        <p:nvPr/>
      </p:nvGrpSpPr>
      <p:grpSpPr>
        <a:xfrm>
          <a:off x="0" y="0"/>
          <a:ext cx="0" cy="0"/>
          <a:chOff x="0" y="0"/>
          <a:chExt cx="0" cy="0"/>
        </a:xfrm>
      </p:grpSpPr>
      <p:grpSp>
        <p:nvGrpSpPr>
          <p:cNvPr id="8" name="GRID 18 x 12" hidden="1">
            <a:extLst>
              <a:ext uri="{FF2B5EF4-FFF2-40B4-BE49-F238E27FC236}">
                <a16:creationId xmlns:a16="http://schemas.microsoft.com/office/drawing/2014/main" id="{9133B822-B4CE-35ED-815D-103606A59E21}"/>
              </a:ext>
            </a:extLst>
          </p:cNvPr>
          <p:cNvGrpSpPr>
            <a:grpSpLocks noGrp="1" noUngrp="1" noRot="1" noMove="1" noResize="1"/>
          </p:cNvGrpSpPr>
          <p:nvPr/>
        </p:nvGrpSpPr>
        <p:grpSpPr>
          <a:xfrm>
            <a:off x="0" y="0"/>
            <a:ext cx="12192000" cy="6858000"/>
            <a:chOff x="0" y="0"/>
            <a:chExt cx="12192000" cy="6858000"/>
          </a:xfrm>
        </p:grpSpPr>
        <p:grpSp>
          <p:nvGrpSpPr>
            <p:cNvPr id="10" name="Rows 12">
              <a:extLst>
                <a:ext uri="{FF2B5EF4-FFF2-40B4-BE49-F238E27FC236}">
                  <a16:creationId xmlns:a16="http://schemas.microsoft.com/office/drawing/2014/main" id="{6A97ABEE-6005-4707-D791-A6E54DAB597F}"/>
                </a:ext>
              </a:extLst>
            </p:cNvPr>
            <p:cNvGrpSpPr>
              <a:grpSpLocks noGrp="1" noUngrp="1" noRot="1" noMove="1" noResize="1"/>
            </p:cNvGrpSpPr>
            <p:nvPr/>
          </p:nvGrpSpPr>
          <p:grpSpPr>
            <a:xfrm>
              <a:off x="0" y="0"/>
              <a:ext cx="12192000" cy="6858000"/>
              <a:chOff x="0" y="0"/>
              <a:chExt cx="12192000" cy="3766788"/>
            </a:xfrm>
          </p:grpSpPr>
          <p:sp>
            <p:nvSpPr>
              <p:cNvPr id="30" name="Rectangle 29">
                <a:extLst>
                  <a:ext uri="{FF2B5EF4-FFF2-40B4-BE49-F238E27FC236}">
                    <a16:creationId xmlns:a16="http://schemas.microsoft.com/office/drawing/2014/main" id="{A7FABFE5-D7CB-868F-6488-4B5FD97948CD}"/>
                  </a:ext>
                </a:extLst>
              </p:cNvPr>
              <p:cNvSpPr>
                <a:spLocks noGrp="1" noRot="1" noMove="1" noResize="1" noEditPoints="1" noAdjustHandles="1" noChangeArrowheads="1" noChangeShapeType="1"/>
              </p:cNvSpPr>
              <p:nvPr/>
            </p:nvSpPr>
            <p:spPr>
              <a:xfrm>
                <a:off x="0" y="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E65C6606-6BD4-2263-7F42-70DEC36CEAAB}"/>
                  </a:ext>
                </a:extLst>
              </p:cNvPr>
              <p:cNvSpPr>
                <a:spLocks noGrp="1" noRot="1" noMove="1" noResize="1" noEditPoints="1" noAdjustHandles="1" noChangeArrowheads="1" noChangeShapeType="1"/>
              </p:cNvSpPr>
              <p:nvPr/>
            </p:nvSpPr>
            <p:spPr>
              <a:xfrm>
                <a:off x="0" y="31389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EE5C2AFF-FB4A-0617-B0DF-57905C2B2294}"/>
                  </a:ext>
                </a:extLst>
              </p:cNvPr>
              <p:cNvSpPr>
                <a:spLocks noGrp="1" noRot="1" noMove="1" noResize="1" noEditPoints="1" noAdjustHandles="1" noChangeArrowheads="1" noChangeShapeType="1"/>
              </p:cNvSpPr>
              <p:nvPr/>
            </p:nvSpPr>
            <p:spPr>
              <a:xfrm>
                <a:off x="0" y="627798"/>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3975C841-FBF3-5AF2-62AD-6D9EED6BF729}"/>
                  </a:ext>
                </a:extLst>
              </p:cNvPr>
              <p:cNvSpPr>
                <a:spLocks noGrp="1" noRot="1" noMove="1" noResize="1" noEditPoints="1" noAdjustHandles="1" noChangeArrowheads="1" noChangeShapeType="1"/>
              </p:cNvSpPr>
              <p:nvPr/>
            </p:nvSpPr>
            <p:spPr>
              <a:xfrm>
                <a:off x="0" y="941697"/>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B25D74DB-0899-DC2E-F1AE-56B17D34CCEE}"/>
                  </a:ext>
                </a:extLst>
              </p:cNvPr>
              <p:cNvSpPr>
                <a:spLocks noGrp="1" noRot="1" noMove="1" noResize="1" noEditPoints="1" noAdjustHandles="1" noChangeArrowheads="1" noChangeShapeType="1"/>
              </p:cNvSpPr>
              <p:nvPr/>
            </p:nvSpPr>
            <p:spPr>
              <a:xfrm>
                <a:off x="0" y="1255596"/>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B76AC144-D99E-0F2D-0D95-CBACF7942B12}"/>
                  </a:ext>
                </a:extLst>
              </p:cNvPr>
              <p:cNvSpPr>
                <a:spLocks noGrp="1" noRot="1" noMove="1" noResize="1" noEditPoints="1" noAdjustHandles="1" noChangeArrowheads="1" noChangeShapeType="1"/>
              </p:cNvSpPr>
              <p:nvPr/>
            </p:nvSpPr>
            <p:spPr>
              <a:xfrm>
                <a:off x="0" y="1569495"/>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C5962C92-D03B-D375-7B84-927BD2BBC53E}"/>
                  </a:ext>
                </a:extLst>
              </p:cNvPr>
              <p:cNvSpPr>
                <a:spLocks noGrp="1" noRot="1" noMove="1" noResize="1" noEditPoints="1" noAdjustHandles="1" noChangeArrowheads="1" noChangeShapeType="1"/>
              </p:cNvSpPr>
              <p:nvPr/>
            </p:nvSpPr>
            <p:spPr>
              <a:xfrm>
                <a:off x="0" y="1883394"/>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AAA4912E-6344-8D8C-D618-E3E3E992964E}"/>
                  </a:ext>
                </a:extLst>
              </p:cNvPr>
              <p:cNvSpPr>
                <a:spLocks noGrp="1" noRot="1" noMove="1" noResize="1" noEditPoints="1" noAdjustHandles="1" noChangeArrowheads="1" noChangeShapeType="1"/>
              </p:cNvSpPr>
              <p:nvPr/>
            </p:nvSpPr>
            <p:spPr>
              <a:xfrm>
                <a:off x="0" y="2197293"/>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B55EF18A-1576-DBDA-17A0-F107D31E5E75}"/>
                  </a:ext>
                </a:extLst>
              </p:cNvPr>
              <p:cNvSpPr>
                <a:spLocks noGrp="1" noRot="1" noMove="1" noResize="1" noEditPoints="1" noAdjustHandles="1" noChangeArrowheads="1" noChangeShapeType="1"/>
              </p:cNvSpPr>
              <p:nvPr/>
            </p:nvSpPr>
            <p:spPr>
              <a:xfrm>
                <a:off x="0" y="2511192"/>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56D78BF-0050-4880-5C7C-D6BBA46A2C93}"/>
                  </a:ext>
                </a:extLst>
              </p:cNvPr>
              <p:cNvSpPr>
                <a:spLocks noGrp="1" noRot="1" noMove="1" noResize="1" noEditPoints="1" noAdjustHandles="1" noChangeArrowheads="1" noChangeShapeType="1"/>
              </p:cNvSpPr>
              <p:nvPr/>
            </p:nvSpPr>
            <p:spPr>
              <a:xfrm>
                <a:off x="0" y="2825091"/>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AB1F84C5-D8F8-BBD8-86BF-E59166039803}"/>
                  </a:ext>
                </a:extLst>
              </p:cNvPr>
              <p:cNvSpPr>
                <a:spLocks noGrp="1" noRot="1" noMove="1" noResize="1" noEditPoints="1" noAdjustHandles="1" noChangeArrowheads="1" noChangeShapeType="1"/>
              </p:cNvSpPr>
              <p:nvPr/>
            </p:nvSpPr>
            <p:spPr>
              <a:xfrm>
                <a:off x="0" y="313899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C762B63-0238-F599-127D-CD0711F18791}"/>
                  </a:ext>
                </a:extLst>
              </p:cNvPr>
              <p:cNvSpPr>
                <a:spLocks noGrp="1" noRot="1" noMove="1" noResize="1" noEditPoints="1" noAdjustHandles="1" noChangeArrowheads="1" noChangeShapeType="1"/>
              </p:cNvSpPr>
              <p:nvPr/>
            </p:nvSpPr>
            <p:spPr>
              <a:xfrm>
                <a:off x="0" y="345288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1" name="Columns 18">
              <a:extLst>
                <a:ext uri="{FF2B5EF4-FFF2-40B4-BE49-F238E27FC236}">
                  <a16:creationId xmlns:a16="http://schemas.microsoft.com/office/drawing/2014/main" id="{4C4C969E-83CD-8FA1-5150-F2320A6FD841}"/>
                </a:ext>
              </a:extLst>
            </p:cNvPr>
            <p:cNvGrpSpPr>
              <a:grpSpLocks noGrp="1" noUngrp="1" noRot="1" noMove="1" noResize="1"/>
            </p:cNvGrpSpPr>
            <p:nvPr/>
          </p:nvGrpSpPr>
          <p:grpSpPr>
            <a:xfrm>
              <a:off x="0" y="0"/>
              <a:ext cx="12192000" cy="6858000"/>
              <a:chOff x="0" y="0"/>
              <a:chExt cx="5650182" cy="6858000"/>
            </a:xfrm>
          </p:grpSpPr>
          <p:sp>
            <p:nvSpPr>
              <p:cNvPr id="12" name="Rectangle 11">
                <a:extLst>
                  <a:ext uri="{FF2B5EF4-FFF2-40B4-BE49-F238E27FC236}">
                    <a16:creationId xmlns:a16="http://schemas.microsoft.com/office/drawing/2014/main" id="{27475249-B345-9E3C-C073-D4F3F2753DA9}"/>
                  </a:ext>
                </a:extLst>
              </p:cNvPr>
              <p:cNvSpPr>
                <a:spLocks noGrp="1" noRot="1" noMove="1" noResize="1" noEditPoints="1" noAdjustHandles="1" noChangeArrowheads="1" noChangeShapeType="1"/>
              </p:cNvSpPr>
              <p:nvPr/>
            </p:nvSpPr>
            <p:spPr>
              <a:xfrm>
                <a:off x="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3343572-EEE0-FAFE-9A50-4713EB7AE0BC}"/>
                  </a:ext>
                </a:extLst>
              </p:cNvPr>
              <p:cNvSpPr>
                <a:spLocks noGrp="1" noRot="1" noMove="1" noResize="1" noEditPoints="1" noAdjustHandles="1" noChangeArrowheads="1" noChangeShapeType="1"/>
              </p:cNvSpPr>
              <p:nvPr/>
            </p:nvSpPr>
            <p:spPr>
              <a:xfrm>
                <a:off x="31389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784C4CB-5E60-030F-C314-7783603F1609}"/>
                  </a:ext>
                </a:extLst>
              </p:cNvPr>
              <p:cNvSpPr>
                <a:spLocks noGrp="1" noRot="1" noMove="1" noResize="1" noEditPoints="1" noAdjustHandles="1" noChangeArrowheads="1" noChangeShapeType="1"/>
              </p:cNvSpPr>
              <p:nvPr/>
            </p:nvSpPr>
            <p:spPr>
              <a:xfrm>
                <a:off x="62779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BE6C650-F651-F977-F8C3-AD5EAAC7ECD1}"/>
                  </a:ext>
                </a:extLst>
              </p:cNvPr>
              <p:cNvSpPr>
                <a:spLocks noGrp="1" noRot="1" noMove="1" noResize="1" noEditPoints="1" noAdjustHandles="1" noChangeArrowheads="1" noChangeShapeType="1"/>
              </p:cNvSpPr>
              <p:nvPr/>
            </p:nvSpPr>
            <p:spPr>
              <a:xfrm>
                <a:off x="94169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F0079A4F-EAEB-6E56-5188-3F000965FEB5}"/>
                  </a:ext>
                </a:extLst>
              </p:cNvPr>
              <p:cNvSpPr>
                <a:spLocks noGrp="1" noRot="1" noMove="1" noResize="1" noEditPoints="1" noAdjustHandles="1" noChangeArrowheads="1" noChangeShapeType="1"/>
              </p:cNvSpPr>
              <p:nvPr/>
            </p:nvSpPr>
            <p:spPr>
              <a:xfrm>
                <a:off x="125559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B005368-A137-6FA8-5E16-00279951DBC4}"/>
                  </a:ext>
                </a:extLst>
              </p:cNvPr>
              <p:cNvSpPr>
                <a:spLocks noGrp="1" noRot="1" noMove="1" noResize="1" noEditPoints="1" noAdjustHandles="1" noChangeArrowheads="1" noChangeShapeType="1"/>
              </p:cNvSpPr>
              <p:nvPr/>
            </p:nvSpPr>
            <p:spPr>
              <a:xfrm>
                <a:off x="156949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4F33CE02-E6E5-614C-5130-A0CC28FBFDE3}"/>
                  </a:ext>
                </a:extLst>
              </p:cNvPr>
              <p:cNvSpPr>
                <a:spLocks noGrp="1" noRot="1" noMove="1" noResize="1" noEditPoints="1" noAdjustHandles="1" noChangeArrowheads="1" noChangeShapeType="1"/>
              </p:cNvSpPr>
              <p:nvPr/>
            </p:nvSpPr>
            <p:spPr>
              <a:xfrm>
                <a:off x="188339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3DB9542-4D15-C4CB-7E3C-72C194E8A245}"/>
                  </a:ext>
                </a:extLst>
              </p:cNvPr>
              <p:cNvSpPr>
                <a:spLocks noGrp="1" noRot="1" noMove="1" noResize="1" noEditPoints="1" noAdjustHandles="1" noChangeArrowheads="1" noChangeShapeType="1"/>
              </p:cNvSpPr>
              <p:nvPr/>
            </p:nvSpPr>
            <p:spPr>
              <a:xfrm>
                <a:off x="219729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2B614D8-B255-90DC-9C6B-43E5A47F9BFF}"/>
                  </a:ext>
                </a:extLst>
              </p:cNvPr>
              <p:cNvSpPr>
                <a:spLocks noGrp="1" noRot="1" noMove="1" noResize="1" noEditPoints="1" noAdjustHandles="1" noChangeArrowheads="1" noChangeShapeType="1"/>
              </p:cNvSpPr>
              <p:nvPr/>
            </p:nvSpPr>
            <p:spPr>
              <a:xfrm>
                <a:off x="2511192"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628AD48-ECF1-646E-13CE-8E7D78E4F9F2}"/>
                  </a:ext>
                </a:extLst>
              </p:cNvPr>
              <p:cNvSpPr>
                <a:spLocks noGrp="1" noRot="1" noMove="1" noResize="1" noEditPoints="1" noAdjustHandles="1" noChangeArrowheads="1" noChangeShapeType="1"/>
              </p:cNvSpPr>
              <p:nvPr/>
            </p:nvSpPr>
            <p:spPr>
              <a:xfrm>
                <a:off x="2825091"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4735D7A6-F82C-E34B-97F9-BC4257A46CAB}"/>
                  </a:ext>
                </a:extLst>
              </p:cNvPr>
              <p:cNvSpPr>
                <a:spLocks noGrp="1" noRot="1" noMove="1" noResize="1" noEditPoints="1" noAdjustHandles="1" noChangeArrowheads="1" noChangeShapeType="1"/>
              </p:cNvSpPr>
              <p:nvPr/>
            </p:nvSpPr>
            <p:spPr>
              <a:xfrm>
                <a:off x="313899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F47C862E-08F9-BD41-9CA5-77C81455EC16}"/>
                  </a:ext>
                </a:extLst>
              </p:cNvPr>
              <p:cNvSpPr>
                <a:spLocks noGrp="1" noRot="1" noMove="1" noResize="1" noEditPoints="1" noAdjustHandles="1" noChangeArrowheads="1" noChangeShapeType="1"/>
              </p:cNvSpPr>
              <p:nvPr/>
            </p:nvSpPr>
            <p:spPr>
              <a:xfrm>
                <a:off x="345288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41BE9779-8D07-0164-82B8-B0099F242C7B}"/>
                  </a:ext>
                </a:extLst>
              </p:cNvPr>
              <p:cNvSpPr>
                <a:spLocks noGrp="1" noRot="1" noMove="1" noResize="1" noEditPoints="1" noAdjustHandles="1" noChangeArrowheads="1" noChangeShapeType="1"/>
              </p:cNvSpPr>
              <p:nvPr/>
            </p:nvSpPr>
            <p:spPr>
              <a:xfrm>
                <a:off x="376678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1607E658-EDF7-D2F9-8828-B8CDC6431106}"/>
                  </a:ext>
                </a:extLst>
              </p:cNvPr>
              <p:cNvSpPr>
                <a:spLocks noGrp="1" noRot="1" noMove="1" noResize="1" noEditPoints="1" noAdjustHandles="1" noChangeArrowheads="1" noChangeShapeType="1"/>
              </p:cNvSpPr>
              <p:nvPr/>
            </p:nvSpPr>
            <p:spPr>
              <a:xfrm>
                <a:off x="408068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A4F78-F245-05B4-1699-763C4102681E}"/>
                  </a:ext>
                </a:extLst>
              </p:cNvPr>
              <p:cNvSpPr>
                <a:spLocks noGrp="1" noRot="1" noMove="1" noResize="1" noEditPoints="1" noAdjustHandles="1" noChangeArrowheads="1" noChangeShapeType="1"/>
              </p:cNvSpPr>
              <p:nvPr/>
            </p:nvSpPr>
            <p:spPr>
              <a:xfrm>
                <a:off x="439458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AFAFCEE1-4444-BB7E-1428-28EA71EA0A40}"/>
                  </a:ext>
                </a:extLst>
              </p:cNvPr>
              <p:cNvSpPr>
                <a:spLocks noGrp="1" noRot="1" noMove="1" noResize="1" noEditPoints="1" noAdjustHandles="1" noChangeArrowheads="1" noChangeShapeType="1"/>
              </p:cNvSpPr>
              <p:nvPr/>
            </p:nvSpPr>
            <p:spPr>
              <a:xfrm>
                <a:off x="470848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0D4A6FE3-651B-1DB2-DB69-6CE9A5C4A0C9}"/>
                  </a:ext>
                </a:extLst>
              </p:cNvPr>
              <p:cNvSpPr>
                <a:spLocks noGrp="1" noRot="1" noMove="1" noResize="1" noEditPoints="1" noAdjustHandles="1" noChangeArrowheads="1" noChangeShapeType="1"/>
              </p:cNvSpPr>
              <p:nvPr/>
            </p:nvSpPr>
            <p:spPr>
              <a:xfrm>
                <a:off x="502238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35C4B27D-E0B4-D84B-1E2F-DDA0C100F89C}"/>
                  </a:ext>
                </a:extLst>
              </p:cNvPr>
              <p:cNvSpPr>
                <a:spLocks noGrp="1" noRot="1" noMove="1" noResize="1" noEditPoints="1" noAdjustHandles="1" noChangeArrowheads="1" noChangeShapeType="1"/>
              </p:cNvSpPr>
              <p:nvPr/>
            </p:nvSpPr>
            <p:spPr>
              <a:xfrm>
                <a:off x="533628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useBgFill="1">
        <p:nvSpPr>
          <p:cNvPr id="50" name="Snip Diagonal Corner of Rectangle 23">
            <a:extLst>
              <a:ext uri="{FF2B5EF4-FFF2-40B4-BE49-F238E27FC236}">
                <a16:creationId xmlns:a16="http://schemas.microsoft.com/office/drawing/2014/main" id="{3CD33E34-392F-83BF-7B41-2B2876A5E157}"/>
              </a:ext>
            </a:extLst>
          </p:cNvPr>
          <p:cNvSpPr/>
          <p:nvPr/>
        </p:nvSpPr>
        <p:spPr>
          <a:xfrm>
            <a:off x="893002" y="5915311"/>
            <a:ext cx="2032000" cy="561517"/>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5" name="Snip Diagonal Corner of Rectangle 23">
            <a:extLst>
              <a:ext uri="{FF2B5EF4-FFF2-40B4-BE49-F238E27FC236}">
                <a16:creationId xmlns:a16="http://schemas.microsoft.com/office/drawing/2014/main" id="{0091B6A4-040D-CB0C-0805-3F76BCA274A4}"/>
              </a:ext>
            </a:extLst>
          </p:cNvPr>
          <p:cNvSpPr/>
          <p:nvPr/>
        </p:nvSpPr>
        <p:spPr>
          <a:xfrm>
            <a:off x="2278061" y="4963155"/>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OTHMA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2" name="Subtitle">
            <a:extLst>
              <a:ext uri="{FF2B5EF4-FFF2-40B4-BE49-F238E27FC236}">
                <a16:creationId xmlns:a16="http://schemas.microsoft.com/office/drawing/2014/main" id="{23876867-EBCE-4B12-F515-A4AA93CFAEB0}"/>
              </a:ext>
            </a:extLst>
          </p:cNvPr>
          <p:cNvSpPr txBox="1"/>
          <p:nvPr/>
        </p:nvSpPr>
        <p:spPr>
          <a:xfrm>
            <a:off x="1361531" y="4109690"/>
            <a:ext cx="3924037" cy="398827"/>
          </a:xfrm>
          <a:prstGeom prst="rect">
            <a:avLst/>
          </a:prstGeom>
          <a:noFill/>
        </p:spPr>
        <p:txBody>
          <a:bodyPr wrap="square" lIns="0" rtlCol="0">
            <a:spAutoFit/>
          </a:bodyPr>
          <a:lstStyle>
            <a:defPPr>
              <a:defRPr lang="en-LT"/>
            </a:defPPr>
            <a:lvl1pPr>
              <a:lnSpc>
                <a:spcPct val="80000"/>
              </a:lnSpc>
              <a:defRPr sz="5000" b="1" spc="300">
                <a:gradFill flip="none" rotWithShape="1">
                  <a:gsLst>
                    <a:gs pos="0">
                      <a:schemeClr val="accent5"/>
                    </a:gs>
                    <a:gs pos="41000">
                      <a:schemeClr val="accent2"/>
                    </a:gs>
                    <a:gs pos="85000">
                      <a:schemeClr val="accent3"/>
                    </a:gs>
                  </a:gsLst>
                  <a:lin ang="0" scaled="1"/>
                  <a:tileRect/>
                </a:gradFill>
                <a:latin typeface="Nunito Sans ExtraBold" pitchFamily="2" charset="77"/>
                <a:ea typeface="Open Sans Extrabold" panose="020B0606030504020204" pitchFamily="34" charset="0"/>
                <a:cs typeface="Open Sans Extrabold" panose="020B0606030504020204" pitchFamily="34" charset="0"/>
              </a:defRPr>
            </a:lvl1pPr>
          </a:lstStyle>
          <a:p>
            <a:pPr lvl="0">
              <a:lnSpc>
                <a:spcPct val="150000"/>
              </a:lnSpc>
              <a:defRPr/>
            </a:pP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Git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créé</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par Linus Torvalds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en</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2005,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tandis</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que GitHub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créée</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en</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2008 par Tom Preston-Werner, Chris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Wanstrath</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et PJ Hyett."</a:t>
            </a:r>
            <a:endParaRPr kumimoji="0" lang="en-LT" sz="700" b="0" i="0" u="none" strike="noStrike" kern="1200" cap="none" spc="110" normalizeH="0" baseline="0" noProof="0" dirty="0">
              <a:ln>
                <a:noFill/>
              </a:ln>
              <a:solidFill>
                <a:srgbClr val="000000"/>
              </a:solidFill>
              <a:effectLst/>
              <a:uLnTx/>
              <a:uFillTx/>
              <a:latin typeface="Michroma" pitchFamily="2" charset="0"/>
              <a:ea typeface="Roboto" panose="02000000000000000000" pitchFamily="2" charset="0"/>
              <a:cs typeface="Urbanist Light" panose="020B0A04040200000203" pitchFamily="34" charset="77"/>
            </a:endParaRPr>
          </a:p>
        </p:txBody>
      </p:sp>
      <p:sp>
        <p:nvSpPr>
          <p:cNvPr id="48" name="Subtitle">
            <a:extLst>
              <a:ext uri="{FF2B5EF4-FFF2-40B4-BE49-F238E27FC236}">
                <a16:creationId xmlns:a16="http://schemas.microsoft.com/office/drawing/2014/main" id="{0F267CBB-AC56-410E-FD4A-8530F7FAD7BD}"/>
              </a:ext>
            </a:extLst>
          </p:cNvPr>
          <p:cNvSpPr txBox="1"/>
          <p:nvPr/>
        </p:nvSpPr>
        <p:spPr>
          <a:xfrm>
            <a:off x="1352815" y="517713"/>
            <a:ext cx="3461745" cy="195823"/>
          </a:xfrm>
          <a:prstGeom prst="rect">
            <a:avLst/>
          </a:prstGeom>
          <a:noFill/>
        </p:spPr>
        <p:txBody>
          <a:bodyPr wrap="square" lIns="0" rtlCol="0">
            <a:spAutoFit/>
          </a:bodyPr>
          <a:lstStyle>
            <a:defPPr>
              <a:defRPr lang="en-LT"/>
            </a:defPPr>
            <a:lvl1pPr marR="0" lvl="0" indent="0" fontAlgn="auto">
              <a:lnSpc>
                <a:spcPct val="150000"/>
              </a:lnSpc>
              <a:spcBef>
                <a:spcPts val="0"/>
              </a:spcBef>
              <a:spcAft>
                <a:spcPts val="0"/>
              </a:spcAft>
              <a:buClrTx/>
              <a:buSzTx/>
              <a:buFontTx/>
              <a:buNone/>
              <a:tabLst/>
              <a:defRPr kumimoji="0" sz="800" b="0" u="none" strike="noStrike" cap="none" spc="110" normalizeH="0">
                <a:ln>
                  <a:noFill/>
                </a:ln>
                <a:solidFill>
                  <a:srgbClr val="FFFFFF"/>
                </a:solidFill>
                <a:uLnTx/>
                <a:uFillTx/>
                <a:latin typeface="Michroma" pitchFamily="2" charset="0"/>
                <a:ea typeface="Roboto" panose="02000000000000000000" pitchFamily="2" charset="0"/>
                <a:cs typeface="Urbanist Light" panose="020B0A04040200000203" pitchFamily="34" charset="77"/>
              </a:defRPr>
            </a:lvl1pPr>
          </a:lstStyle>
          <a:p>
            <a:pPr lvl="0">
              <a:defRPr/>
            </a:pPr>
            <a:r>
              <a:rPr lang="en-GB" sz="500" dirty="0"/>
              <a:t>GIT // REPOSITOIRES // TARIFICATION // COLLABORATEURS</a:t>
            </a:r>
          </a:p>
        </p:txBody>
      </p:sp>
      <p:grpSp>
        <p:nvGrpSpPr>
          <p:cNvPr id="1051" name="PART 2">
            <a:extLst>
              <a:ext uri="{FF2B5EF4-FFF2-40B4-BE49-F238E27FC236}">
                <a16:creationId xmlns:a16="http://schemas.microsoft.com/office/drawing/2014/main" id="{0DE89BEB-9FDF-FD01-F421-C9AD56505E69}"/>
              </a:ext>
            </a:extLst>
          </p:cNvPr>
          <p:cNvGrpSpPr/>
          <p:nvPr/>
        </p:nvGrpSpPr>
        <p:grpSpPr>
          <a:xfrm>
            <a:off x="3255579" y="2297360"/>
            <a:ext cx="2492434" cy="830997"/>
            <a:chOff x="3255579" y="2297360"/>
            <a:chExt cx="2492434" cy="830997"/>
          </a:xfrm>
        </p:grpSpPr>
        <p:sp>
          <p:nvSpPr>
            <p:cNvPr id="1036" name="TextBox 1035">
              <a:extLst>
                <a:ext uri="{FF2B5EF4-FFF2-40B4-BE49-F238E27FC236}">
                  <a16:creationId xmlns:a16="http://schemas.microsoft.com/office/drawing/2014/main" id="{6174ED5A-C98C-FD86-3842-B3CC94D7B8B7}"/>
                </a:ext>
              </a:extLst>
            </p:cNvPr>
            <p:cNvSpPr txBox="1"/>
            <p:nvPr/>
          </p:nvSpPr>
          <p:spPr>
            <a:xfrm>
              <a:off x="4559650"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sp>
          <p:nvSpPr>
            <p:cNvPr id="1037" name="Rectangle 1036">
              <a:extLst>
                <a:ext uri="{FF2B5EF4-FFF2-40B4-BE49-F238E27FC236}">
                  <a16:creationId xmlns:a16="http://schemas.microsoft.com/office/drawing/2014/main" id="{36581006-A801-4761-6BD7-6AB3BF6C34AB}"/>
                </a:ext>
              </a:extLst>
            </p:cNvPr>
            <p:cNvSpPr/>
            <p:nvPr/>
          </p:nvSpPr>
          <p:spPr>
            <a:xfrm>
              <a:off x="3255579" y="2486173"/>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39" name="Rectangle 1038">
              <a:extLst>
                <a:ext uri="{FF2B5EF4-FFF2-40B4-BE49-F238E27FC236}">
                  <a16:creationId xmlns:a16="http://schemas.microsoft.com/office/drawing/2014/main" id="{01626707-5AF6-4C6E-5A01-917EF5FB2A7C}"/>
                </a:ext>
              </a:extLst>
            </p:cNvPr>
            <p:cNvSpPr/>
            <p:nvPr/>
          </p:nvSpPr>
          <p:spPr>
            <a:xfrm>
              <a:off x="3255579" y="2826656"/>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50" name="TextBox 1049">
              <a:extLst>
                <a:ext uri="{FF2B5EF4-FFF2-40B4-BE49-F238E27FC236}">
                  <a16:creationId xmlns:a16="http://schemas.microsoft.com/office/drawing/2014/main" id="{123CF19F-8F78-390D-4B8A-89BDAE93239F}"/>
                </a:ext>
              </a:extLst>
            </p:cNvPr>
            <p:cNvSpPr txBox="1"/>
            <p:nvPr/>
          </p:nvSpPr>
          <p:spPr>
            <a:xfrm>
              <a:off x="4887200" y="2297360"/>
              <a:ext cx="860813" cy="830997"/>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lvl="0">
                <a:defRPr/>
              </a:pPr>
              <a:r>
                <a:rPr lang="en-US" sz="5400" b="1" spc="100" dirty="0">
                  <a:ln w="25400">
                    <a:noFill/>
                  </a:ln>
                  <a:solidFill>
                    <a:srgbClr val="00F1FF"/>
                  </a:solidFill>
                  <a:effectLst>
                    <a:outerShdw blurRad="1270000" algn="ctr" rotWithShape="0">
                      <a:srgbClr val="00F1FF"/>
                    </a:outerShdw>
                  </a:effectLst>
                  <a:latin typeface="Forte" panose="03060902040502070203" pitchFamily="66" charset="0"/>
                </a:rPr>
                <a:t>UI</a:t>
              </a:r>
              <a:endParaRPr kumimoji="0" lang="en-GB" sz="5400" b="1"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Forte" panose="03060902040502070203" pitchFamily="66" charset="0"/>
                <a:ea typeface="+mn-ea"/>
                <a:cs typeface="+mn-cs"/>
              </a:endParaRPr>
            </a:p>
          </p:txBody>
        </p:sp>
      </p:grpSp>
      <p:sp>
        <p:nvSpPr>
          <p:cNvPr id="1040" name="TextBox 1039">
            <a:extLst>
              <a:ext uri="{FF2B5EF4-FFF2-40B4-BE49-F238E27FC236}">
                <a16:creationId xmlns:a16="http://schemas.microsoft.com/office/drawing/2014/main" id="{B9E8D04F-3234-D223-0F8F-6DB8F62D2A04}"/>
              </a:ext>
            </a:extLst>
          </p:cNvPr>
          <p:cNvSpPr txBox="1"/>
          <p:nvPr/>
        </p:nvSpPr>
        <p:spPr>
          <a:xfrm flipH="1">
            <a:off x="2951349"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grpSp>
        <p:nvGrpSpPr>
          <p:cNvPr id="49" name="PART 1">
            <a:extLst>
              <a:ext uri="{FF2B5EF4-FFF2-40B4-BE49-F238E27FC236}">
                <a16:creationId xmlns:a16="http://schemas.microsoft.com/office/drawing/2014/main" id="{86376183-C958-08FA-C1E9-39FDFFD23A4E}"/>
              </a:ext>
            </a:extLst>
          </p:cNvPr>
          <p:cNvGrpSpPr/>
          <p:nvPr/>
        </p:nvGrpSpPr>
        <p:grpSpPr>
          <a:xfrm>
            <a:off x="1347451" y="2343526"/>
            <a:ext cx="1908127" cy="738664"/>
            <a:chOff x="1347451" y="2343526"/>
            <a:chExt cx="1908127" cy="738664"/>
          </a:xfrm>
        </p:grpSpPr>
        <p:sp>
          <p:nvSpPr>
            <p:cNvPr id="52" name="TextBox 51">
              <a:extLst>
                <a:ext uri="{FF2B5EF4-FFF2-40B4-BE49-F238E27FC236}">
                  <a16:creationId xmlns:a16="http://schemas.microsoft.com/office/drawing/2014/main" id="{AEF07BFA-6CC8-6E5C-9105-C6D2F42273E4}"/>
                </a:ext>
              </a:extLst>
            </p:cNvPr>
            <p:cNvSpPr txBox="1"/>
            <p:nvPr/>
          </p:nvSpPr>
          <p:spPr>
            <a:xfrm>
              <a:off x="1347451" y="2343526"/>
              <a:ext cx="6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Hanson" pitchFamily="50" charset="0"/>
                <a:ea typeface="+mn-ea"/>
                <a:cs typeface="+mn-cs"/>
              </a:endParaRPr>
            </a:p>
          </p:txBody>
        </p:sp>
        <p:sp>
          <p:nvSpPr>
            <p:cNvPr id="53" name="TextBox 52">
              <a:extLst>
                <a:ext uri="{FF2B5EF4-FFF2-40B4-BE49-F238E27FC236}">
                  <a16:creationId xmlns:a16="http://schemas.microsoft.com/office/drawing/2014/main" id="{036EAD6E-3FD0-78D3-A94D-2A6A7A92FF06}"/>
                </a:ext>
              </a:extLst>
            </p:cNvPr>
            <p:cNvSpPr txBox="1"/>
            <p:nvPr/>
          </p:nvSpPr>
          <p:spPr>
            <a:xfrm flipH="1">
              <a:off x="2951349"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grpSp>
      <p:grpSp>
        <p:nvGrpSpPr>
          <p:cNvPr id="3" name="Group 2">
            <a:extLst>
              <a:ext uri="{FF2B5EF4-FFF2-40B4-BE49-F238E27FC236}">
                <a16:creationId xmlns:a16="http://schemas.microsoft.com/office/drawing/2014/main" id="{782010DD-EE95-F63D-982F-6B7C85BD7482}"/>
              </a:ext>
            </a:extLst>
          </p:cNvPr>
          <p:cNvGrpSpPr/>
          <p:nvPr/>
        </p:nvGrpSpPr>
        <p:grpSpPr>
          <a:xfrm>
            <a:off x="6650657" y="1117694"/>
            <a:ext cx="3916181" cy="4887438"/>
            <a:chOff x="6985210" y="1117694"/>
            <a:chExt cx="3916181" cy="4887438"/>
          </a:xfrm>
        </p:grpSpPr>
        <p:sp useBgFill="1">
          <p:nvSpPr>
            <p:cNvPr id="42" name="Snip Diagonal Corner of Rectangle 23">
              <a:extLst>
                <a:ext uri="{FF2B5EF4-FFF2-40B4-BE49-F238E27FC236}">
                  <a16:creationId xmlns:a16="http://schemas.microsoft.com/office/drawing/2014/main" id="{F859325A-4DA3-B729-6F6E-1D43767FD7FD}"/>
                </a:ext>
              </a:extLst>
            </p:cNvPr>
            <p:cNvSpPr>
              <a:spLocks/>
            </p:cNvSpPr>
            <p:nvPr/>
          </p:nvSpPr>
          <p:spPr>
            <a:xfrm>
              <a:off x="7111999" y="1248953"/>
              <a:ext cx="3669347" cy="4625527"/>
            </a:xfrm>
            <a:prstGeom prst="snip2DiagRect">
              <a:avLst>
                <a:gd name="adj1" fmla="val 0"/>
                <a:gd name="adj2" fmla="val 10391"/>
              </a:avLst>
            </a:prstGeom>
            <a:ln w="12700" cap="flat">
              <a:solidFill>
                <a:schemeClr val="accent3"/>
              </a:solidFill>
              <a:prstDash val="solid"/>
              <a:miter/>
            </a:ln>
            <a:effectLst>
              <a:outerShdw blurRad="1270000" sx="102000" sy="102000" algn="ctr" rotWithShape="0">
                <a:srgbClr val="00F1FF">
                  <a:alpha val="51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pic>
          <p:nvPicPr>
            <p:cNvPr id="43" name="Picture 42">
              <a:extLst>
                <a:ext uri="{FF2B5EF4-FFF2-40B4-BE49-F238E27FC236}">
                  <a16:creationId xmlns:a16="http://schemas.microsoft.com/office/drawing/2014/main" id="{2C6D77B6-166D-8883-32CC-951110121716}"/>
                </a:ext>
              </a:extLst>
            </p:cNvPr>
            <p:cNvPicPr>
              <a:picLocks noChangeAspect="1"/>
            </p:cNvPicPr>
            <p:nvPr/>
          </p:nvPicPr>
          <p:blipFill rotWithShape="1">
            <a:blip r:embed="rId3"/>
            <a:srcRect l="-11180" t="-22591" r="-11180" b="-22591"/>
            <a:stretch/>
          </p:blipFill>
          <p:spPr>
            <a:xfrm>
              <a:off x="7123082" y="1236621"/>
              <a:ext cx="3669347" cy="4625526"/>
            </a:xfrm>
            <a:prstGeom prst="snip2DiagRect">
              <a:avLst>
                <a:gd name="adj1" fmla="val 0"/>
                <a:gd name="adj2" fmla="val 10761"/>
              </a:avLst>
            </a:prstGeom>
            <a:solidFill>
              <a:schemeClr val="bg2">
                <a:lumMod val="75000"/>
              </a:schemeClr>
            </a:solidFill>
            <a:ln w="12700" cap="flat">
              <a:solidFill>
                <a:schemeClr val="accent3"/>
              </a:solidFill>
              <a:prstDash val="solid"/>
              <a:miter/>
            </a:ln>
            <a:effectLst>
              <a:innerShdw blurRad="927100">
                <a:srgbClr val="00F1FF"/>
              </a:innerShdw>
            </a:effectLst>
          </p:spPr>
        </p:pic>
        <p:sp>
          <p:nvSpPr>
            <p:cNvPr id="44" name="Half Frame 43">
              <a:extLst>
                <a:ext uri="{FF2B5EF4-FFF2-40B4-BE49-F238E27FC236}">
                  <a16:creationId xmlns:a16="http://schemas.microsoft.com/office/drawing/2014/main" id="{9DA77E65-EDC9-A8FA-E8B3-05078650EDE4}"/>
                </a:ext>
              </a:extLst>
            </p:cNvPr>
            <p:cNvSpPr/>
            <p:nvPr/>
          </p:nvSpPr>
          <p:spPr>
            <a:xfrm rot="10800000">
              <a:off x="10428932" y="5536186"/>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45" name="Parallelogram 44">
              <a:extLst>
                <a:ext uri="{FF2B5EF4-FFF2-40B4-BE49-F238E27FC236}">
                  <a16:creationId xmlns:a16="http://schemas.microsoft.com/office/drawing/2014/main" id="{D0607DCC-12BF-0196-0A25-796C93F2B75E}"/>
                </a:ext>
              </a:extLst>
            </p:cNvPr>
            <p:cNvSpPr/>
            <p:nvPr/>
          </p:nvSpPr>
          <p:spPr>
            <a:xfrm rot="16200000" flipV="1">
              <a:off x="10665185" y="5318065"/>
              <a:ext cx="397225"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nvGrpSpPr>
            <p:cNvPr id="47" name="Group 46">
              <a:extLst>
                <a:ext uri="{FF2B5EF4-FFF2-40B4-BE49-F238E27FC236}">
                  <a16:creationId xmlns:a16="http://schemas.microsoft.com/office/drawing/2014/main" id="{5977E714-332A-8891-C85A-4B8569BF4C8B}"/>
                </a:ext>
              </a:extLst>
            </p:cNvPr>
            <p:cNvGrpSpPr/>
            <p:nvPr/>
          </p:nvGrpSpPr>
          <p:grpSpPr>
            <a:xfrm rot="10800000">
              <a:off x="6985210" y="1117694"/>
              <a:ext cx="472459" cy="1084397"/>
              <a:chOff x="10415386" y="4907189"/>
              <a:chExt cx="472459" cy="1084397"/>
            </a:xfrm>
          </p:grpSpPr>
          <p:sp>
            <p:nvSpPr>
              <p:cNvPr id="63" name="Half Frame 62">
                <a:extLst>
                  <a:ext uri="{FF2B5EF4-FFF2-40B4-BE49-F238E27FC236}">
                    <a16:creationId xmlns:a16="http://schemas.microsoft.com/office/drawing/2014/main" id="{09A66F0C-2034-B37A-AAEB-B7DFA57848EC}"/>
                  </a:ext>
                </a:extLst>
              </p:cNvPr>
              <p:cNvSpPr/>
              <p:nvPr/>
            </p:nvSpPr>
            <p:spPr>
              <a:xfrm rot="10800000">
                <a:off x="10415386" y="5522640"/>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24" name="Parallelogram 1023">
                <a:extLst>
                  <a:ext uri="{FF2B5EF4-FFF2-40B4-BE49-F238E27FC236}">
                    <a16:creationId xmlns:a16="http://schemas.microsoft.com/office/drawing/2014/main" id="{83A11566-3E62-8AA0-B691-456B3F147349}"/>
                  </a:ext>
                </a:extLst>
              </p:cNvPr>
              <p:cNvSpPr/>
              <p:nvPr/>
            </p:nvSpPr>
            <p:spPr>
              <a:xfrm rot="16200000" flipV="1">
                <a:off x="10536721" y="5183127"/>
                <a:ext cx="627062"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51" name="Group 50">
              <a:extLst>
                <a:ext uri="{FF2B5EF4-FFF2-40B4-BE49-F238E27FC236}">
                  <a16:creationId xmlns:a16="http://schemas.microsoft.com/office/drawing/2014/main" id="{34B8A838-2F6C-CFFA-C966-D63D470FB069}"/>
                </a:ext>
              </a:extLst>
            </p:cNvPr>
            <p:cNvGrpSpPr/>
            <p:nvPr/>
          </p:nvGrpSpPr>
          <p:grpSpPr>
            <a:xfrm>
              <a:off x="7140579" y="5508461"/>
              <a:ext cx="243602" cy="457736"/>
              <a:chOff x="7151677" y="5506798"/>
              <a:chExt cx="243602" cy="457736"/>
            </a:xfrm>
          </p:grpSpPr>
          <p:sp>
            <p:nvSpPr>
              <p:cNvPr id="61" name="Parallelogram 60">
                <a:extLst>
                  <a:ext uri="{FF2B5EF4-FFF2-40B4-BE49-F238E27FC236}">
                    <a16:creationId xmlns:a16="http://schemas.microsoft.com/office/drawing/2014/main" id="{F59C5E46-4A21-7288-86FA-0D06DC8AC8C1}"/>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62" name="Freeform: Shape 61">
                <a:extLst>
                  <a:ext uri="{FF2B5EF4-FFF2-40B4-BE49-F238E27FC236}">
                    <a16:creationId xmlns:a16="http://schemas.microsoft.com/office/drawing/2014/main" id="{1E6EB70B-CE98-C91F-446C-789AF81DFF33}"/>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56" name="Group 55">
              <a:extLst>
                <a:ext uri="{FF2B5EF4-FFF2-40B4-BE49-F238E27FC236}">
                  <a16:creationId xmlns:a16="http://schemas.microsoft.com/office/drawing/2014/main" id="{2DD86CB4-BD46-7E3D-DD28-952D51D69D0C}"/>
                </a:ext>
              </a:extLst>
            </p:cNvPr>
            <p:cNvGrpSpPr/>
            <p:nvPr/>
          </p:nvGrpSpPr>
          <p:grpSpPr>
            <a:xfrm rot="10800000">
              <a:off x="10526616" y="1145063"/>
              <a:ext cx="243602" cy="457736"/>
              <a:chOff x="7151677" y="5506798"/>
              <a:chExt cx="243602" cy="457736"/>
            </a:xfrm>
          </p:grpSpPr>
          <p:sp>
            <p:nvSpPr>
              <p:cNvPr id="57" name="Parallelogram 56">
                <a:extLst>
                  <a:ext uri="{FF2B5EF4-FFF2-40B4-BE49-F238E27FC236}">
                    <a16:creationId xmlns:a16="http://schemas.microsoft.com/office/drawing/2014/main" id="{EA4BC92B-F3CE-01AA-72B6-DF8F476A1B10}"/>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58" name="Freeform: Shape 57">
                <a:extLst>
                  <a:ext uri="{FF2B5EF4-FFF2-40B4-BE49-F238E27FC236}">
                    <a16:creationId xmlns:a16="http://schemas.microsoft.com/office/drawing/2014/main" id="{54FBCB11-38C1-5364-C3B0-549101AD035C}"/>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sp>
        <p:nvSpPr>
          <p:cNvPr id="65" name="TextBox 5">
            <a:extLst>
              <a:ext uri="{FF2B5EF4-FFF2-40B4-BE49-F238E27FC236}">
                <a16:creationId xmlns:a16="http://schemas.microsoft.com/office/drawing/2014/main" id="{EA48C359-63D0-48A9-A612-770ED50F362C}"/>
              </a:ext>
            </a:extLst>
          </p:cNvPr>
          <p:cNvSpPr txBox="1"/>
          <p:nvPr/>
        </p:nvSpPr>
        <p:spPr>
          <a:xfrm>
            <a:off x="373088" y="1649430"/>
            <a:ext cx="522104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rPr>
              <a:t>Présentation sur</a:t>
            </a:r>
            <a:endParaRPr kumimoji="0" lang="en-GB"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66" name="TextBox 8">
            <a:extLst>
              <a:ext uri="{FF2B5EF4-FFF2-40B4-BE49-F238E27FC236}">
                <a16:creationId xmlns:a16="http://schemas.microsoft.com/office/drawing/2014/main" id="{D9A952AC-4063-4E54-9059-5642A46E937B}"/>
              </a:ext>
            </a:extLst>
          </p:cNvPr>
          <p:cNvSpPr txBox="1"/>
          <p:nvPr/>
        </p:nvSpPr>
        <p:spPr>
          <a:xfrm>
            <a:off x="1347451" y="3082748"/>
            <a:ext cx="3723776"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rPr>
              <a:t>Git &amp; </a:t>
            </a:r>
            <a:r>
              <a:rPr kumimoji="0" lang="fr-FR" sz="4800" b="1" i="0" u="none" strike="noStrike" kern="1200" cap="all" spc="100" normalizeH="0" baseline="0" noProof="0" dirty="0" err="1">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rPr>
              <a:t>github</a:t>
            </a:r>
            <a:endParaRPr kumimoji="0" lang="en-GB"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82" name="Snip Diagonal Corner of Rectangle 23">
            <a:extLst>
              <a:ext uri="{FF2B5EF4-FFF2-40B4-BE49-F238E27FC236}">
                <a16:creationId xmlns:a16="http://schemas.microsoft.com/office/drawing/2014/main" id="{B42AD1DC-4081-46A7-90AC-4EF02439F582}"/>
              </a:ext>
            </a:extLst>
          </p:cNvPr>
          <p:cNvSpPr/>
          <p:nvPr/>
        </p:nvSpPr>
        <p:spPr>
          <a:xfrm>
            <a:off x="887756" y="5930425"/>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ERI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83" name="Snip Diagonal Corner of Rectangle 23">
            <a:extLst>
              <a:ext uri="{FF2B5EF4-FFF2-40B4-BE49-F238E27FC236}">
                <a16:creationId xmlns:a16="http://schemas.microsoft.com/office/drawing/2014/main" id="{DC39BC60-547F-47FD-8A59-30FFEE6A7426}"/>
              </a:ext>
            </a:extLst>
          </p:cNvPr>
          <p:cNvSpPr/>
          <p:nvPr/>
        </p:nvSpPr>
        <p:spPr>
          <a:xfrm>
            <a:off x="3817939" y="5936692"/>
            <a:ext cx="2032000" cy="561517"/>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84" name="Snip Diagonal Corner of Rectangle 23">
            <a:extLst>
              <a:ext uri="{FF2B5EF4-FFF2-40B4-BE49-F238E27FC236}">
                <a16:creationId xmlns:a16="http://schemas.microsoft.com/office/drawing/2014/main" id="{D07FB41A-8D2E-41B1-8595-5D89F3C0752E}"/>
              </a:ext>
            </a:extLst>
          </p:cNvPr>
          <p:cNvSpPr/>
          <p:nvPr/>
        </p:nvSpPr>
        <p:spPr>
          <a:xfrm>
            <a:off x="3844497" y="5941245"/>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FAT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RAMZ</a:t>
            </a:r>
            <a:endParaRPr kumimoji="0" lang="en-LT"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85" name="Snip Diagonal Corner of Rectangle 23">
            <a:extLst>
              <a:ext uri="{FF2B5EF4-FFF2-40B4-BE49-F238E27FC236}">
                <a16:creationId xmlns:a16="http://schemas.microsoft.com/office/drawing/2014/main" id="{E548EFD5-9CFE-4047-B491-35FE45CBA08D}"/>
              </a:ext>
            </a:extLst>
          </p:cNvPr>
          <p:cNvSpPr/>
          <p:nvPr/>
        </p:nvSpPr>
        <p:spPr>
          <a:xfrm>
            <a:off x="9955524" y="6151153"/>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err="1">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r</a:t>
            </a:r>
            <a:r>
              <a:rPr lang="en-US" sz="1400" b="1" spc="110" dirty="0">
                <a:solidFill>
                  <a:srgbClr val="FFFFFF"/>
                </a:solidFill>
                <a:effectLst>
                  <a:outerShdw blurRad="38100" dist="38100" dir="2700000" algn="tl">
                    <a:srgbClr val="000000">
                      <a:alpha val="43137"/>
                    </a:srgbClr>
                  </a:outerShdw>
                </a:effectLst>
                <a:latin typeface="Hanson" pitchFamily="50" charset="0"/>
              </a:rPr>
              <a:t>.DIDI</a:t>
            </a:r>
            <a:endPar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Tree>
    <p:extLst>
      <p:ext uri="{BB962C8B-B14F-4D97-AF65-F5344CB8AC3E}">
        <p14:creationId xmlns:p14="http://schemas.microsoft.com/office/powerpoint/2010/main" val="2906886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102912" y="2976414"/>
            <a:ext cx="4507204" cy="1200329"/>
          </a:xfrm>
          <a:prstGeom prst="rect">
            <a:avLst/>
          </a:prstGeom>
          <a:noFill/>
        </p:spPr>
        <p:txBody>
          <a:bodyPr wrap="square" rtlCol="0">
            <a:spAutoFit/>
          </a:bodyPr>
          <a:lstStyle/>
          <a:p>
            <a:r>
              <a:rPr lang="fr-FR" sz="2400" dirty="0">
                <a:solidFill>
                  <a:schemeClr val="bg1"/>
                </a:solidFill>
              </a:rPr>
              <a:t>La commande git </a:t>
            </a:r>
            <a:r>
              <a:rPr lang="fr-FR" sz="2400" dirty="0" err="1">
                <a:solidFill>
                  <a:schemeClr val="bg1"/>
                </a:solidFill>
              </a:rPr>
              <a:t>add</a:t>
            </a:r>
            <a:r>
              <a:rPr lang="fr-FR" sz="2400" dirty="0">
                <a:solidFill>
                  <a:schemeClr val="bg1"/>
                </a:solidFill>
              </a:rPr>
              <a:t> peut être utilisée pour ajouter des fichiers à l’index.</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8526" y="533575"/>
            <a:ext cx="1020677" cy="1166489"/>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898069" y="5232705"/>
            <a:ext cx="3594552"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add &lt;filename&gt;</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3406665"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ADD</a:t>
            </a:r>
            <a:endParaRPr lang="en-LT" sz="44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26652536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102912" y="3185197"/>
            <a:ext cx="4507204" cy="830997"/>
          </a:xfrm>
          <a:prstGeom prst="rect">
            <a:avLst/>
          </a:prstGeom>
          <a:noFill/>
        </p:spPr>
        <p:txBody>
          <a:bodyPr wrap="square" rtlCol="0">
            <a:spAutoFit/>
          </a:bodyPr>
          <a:lstStyle/>
          <a:p>
            <a:r>
              <a:rPr lang="fr-FR" sz="2400" dirty="0">
                <a:solidFill>
                  <a:schemeClr val="bg1"/>
                </a:solidFill>
              </a:rPr>
              <a:t>a commande git clone est utilisée pour la vérification des dépôts. </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5620" y="533575"/>
            <a:ext cx="1166489" cy="1166489"/>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898069" y="5232705"/>
            <a:ext cx="3649143"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clone &lt;path or link&gt; </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3968817"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CLONE</a:t>
            </a:r>
            <a:endParaRPr lang="en-LT" sz="44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42161389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216777" y="2958209"/>
            <a:ext cx="4507204" cy="1200329"/>
          </a:xfrm>
          <a:prstGeom prst="rect">
            <a:avLst/>
          </a:prstGeom>
          <a:noFill/>
        </p:spPr>
        <p:txBody>
          <a:bodyPr wrap="square" rtlCol="0">
            <a:spAutoFit/>
          </a:bodyPr>
          <a:lstStyle/>
          <a:p>
            <a:r>
              <a:rPr lang="fr-FR" sz="2400" dirty="0">
                <a:solidFill>
                  <a:schemeClr val="bg1"/>
                </a:solidFill>
              </a:rPr>
              <a:t>La commande git commit permet de valider les modifications apportées au HEAD</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5620" y="533575"/>
            <a:ext cx="1166489" cy="1166489"/>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685941" y="5218910"/>
            <a:ext cx="5505238" cy="369332"/>
          </a:xfrm>
          <a:prstGeom prst="rect">
            <a:avLst/>
          </a:prstGeom>
          <a:noFill/>
        </p:spPr>
        <p:txBody>
          <a:bodyPr wrap="square" lIns="0" tIns="0" rIns="0" bIns="0" rtlCol="0">
            <a:spAutoFit/>
          </a:bodyPr>
          <a:lstStyle/>
          <a:p>
            <a:r>
              <a:rPr lang="fr-FR" sz="2400" dirty="0">
                <a:solidFill>
                  <a:schemeClr val="bg2">
                    <a:lumMod val="50000"/>
                  </a:schemeClr>
                </a:solidFill>
                <a:latin typeface="Segoe UI" panose="020B0502040204020203" pitchFamily="34" charset="0"/>
                <a:cs typeface="Segoe UI" panose="020B0502040204020203" pitchFamily="34" charset="0"/>
              </a:rPr>
              <a:t>git commit –m “Description du commit”</a:t>
            </a:r>
            <a:endParaRPr lang="en-US" sz="2400" dirty="0">
              <a:solidFill>
                <a:schemeClr val="bg2">
                  <a:lumMod val="50000"/>
                </a:schemeClr>
              </a:solidFill>
              <a:latin typeface="Segoe UI" panose="020B0502040204020203" pitchFamily="34" charset="0"/>
              <a:cs typeface="Segoe UI" panose="020B0502040204020203" pitchFamily="34" charset="0"/>
            </a:endParaRP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4310011"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COMMIT</a:t>
            </a:r>
            <a:endParaRPr lang="en-LT" sz="44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11259562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169010" y="2815866"/>
            <a:ext cx="4507204" cy="1569660"/>
          </a:xfrm>
          <a:prstGeom prst="rect">
            <a:avLst/>
          </a:prstGeom>
          <a:noFill/>
        </p:spPr>
        <p:txBody>
          <a:bodyPr wrap="square" rtlCol="0">
            <a:spAutoFit/>
          </a:bodyPr>
          <a:lstStyle/>
          <a:p>
            <a:r>
              <a:rPr lang="fr-FR" sz="2400" dirty="0">
                <a:solidFill>
                  <a:schemeClr val="bg1"/>
                </a:solidFill>
              </a:rPr>
              <a:t>La commande git </a:t>
            </a:r>
            <a:r>
              <a:rPr lang="fr-FR" sz="2400" dirty="0" err="1">
                <a:solidFill>
                  <a:schemeClr val="bg1"/>
                </a:solidFill>
              </a:rPr>
              <a:t>status</a:t>
            </a:r>
            <a:r>
              <a:rPr lang="fr-FR" sz="2400" dirty="0">
                <a:solidFill>
                  <a:schemeClr val="bg1"/>
                </a:solidFill>
              </a:rPr>
              <a:t> affiche la liste des fichiers modifiés ainsi que les fichiers qui doivent encore être ajoutés ou validés</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5620" y="533575"/>
            <a:ext cx="1166489" cy="1166489"/>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898069" y="5232705"/>
            <a:ext cx="1888621"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status </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4214477"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STATUS</a:t>
            </a:r>
            <a:endParaRPr lang="en-LT" sz="44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42098783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163516" y="2938976"/>
            <a:ext cx="4385995" cy="1323439"/>
          </a:xfrm>
          <a:prstGeom prst="rect">
            <a:avLst/>
          </a:prstGeom>
          <a:noFill/>
        </p:spPr>
        <p:txBody>
          <a:bodyPr wrap="square" rtlCol="0">
            <a:spAutoFit/>
          </a:bodyPr>
          <a:lstStyle/>
          <a:p>
            <a:r>
              <a:rPr lang="fr-FR" sz="2000" dirty="0">
                <a:solidFill>
                  <a:schemeClr val="bg1"/>
                </a:solidFill>
              </a:rPr>
              <a:t>Git push est une autre commandes GIT de base. Un simple push envoie les modifications locales apportées à la branche principale associée</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5620" y="650224"/>
            <a:ext cx="1166489" cy="933191"/>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898069" y="5232705"/>
            <a:ext cx="4372474"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push &lt;remote&gt; &lt;branch&gt;</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3406665"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PUSH</a:t>
            </a:r>
            <a:endParaRPr lang="en-LT" sz="44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15578444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837426" y="2565932"/>
            <a:ext cx="4935602" cy="208494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1025064" y="2646802"/>
            <a:ext cx="4507204" cy="1938992"/>
          </a:xfrm>
          <a:prstGeom prst="rect">
            <a:avLst/>
          </a:prstGeom>
          <a:noFill/>
        </p:spPr>
        <p:txBody>
          <a:bodyPr wrap="square" rtlCol="0">
            <a:spAutoFit/>
          </a:bodyPr>
          <a:lstStyle/>
          <a:p>
            <a:r>
              <a:rPr lang="fr-FR" sz="2400" dirty="0">
                <a:solidFill>
                  <a:schemeClr val="bg1"/>
                </a:solidFill>
              </a:rPr>
              <a:t>La commande git </a:t>
            </a:r>
            <a:r>
              <a:rPr lang="fr-FR" sz="2400" dirty="0" err="1">
                <a:solidFill>
                  <a:schemeClr val="bg1"/>
                </a:solidFill>
              </a:rPr>
              <a:t>checkout</a:t>
            </a:r>
            <a:r>
              <a:rPr lang="fr-FR" sz="2400" dirty="0">
                <a:solidFill>
                  <a:schemeClr val="bg1"/>
                </a:solidFill>
              </a:rPr>
              <a:t> peut être utilisée pour créer des branches ou pour basculer entre elles. Par exemple nous allons créer une branche:</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5620" y="533575"/>
            <a:ext cx="1166489" cy="1166489"/>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837425" y="5713392"/>
            <a:ext cx="4935601" cy="662146"/>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1117798" y="5859799"/>
            <a:ext cx="4655228"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checkout –b &lt;nom-branch&gt;</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3962277" y="771845"/>
            <a:ext cx="5224411"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CHECKOUT</a:t>
            </a:r>
            <a:endParaRPr lang="en-LT" sz="4400" b="1" spc="300" dirty="0">
              <a:solidFill>
                <a:schemeClr val="tx1">
                  <a:lumMod val="75000"/>
                  <a:lumOff val="25000"/>
                </a:schemeClr>
              </a:solidFill>
              <a:latin typeface="Montserrat" pitchFamily="2" charset="77"/>
            </a:endParaRPr>
          </a:p>
        </p:txBody>
      </p:sp>
      <p:sp>
        <p:nvSpPr>
          <p:cNvPr id="9" name="Rectangle 8">
            <a:extLst>
              <a:ext uri="{FF2B5EF4-FFF2-40B4-BE49-F238E27FC236}">
                <a16:creationId xmlns:a16="http://schemas.microsoft.com/office/drawing/2014/main" id="{EB3C36B7-B376-4ABA-B54E-C64795621E71}"/>
              </a:ext>
            </a:extLst>
          </p:cNvPr>
          <p:cNvSpPr/>
          <p:nvPr/>
        </p:nvSpPr>
        <p:spPr>
          <a:xfrm>
            <a:off x="6231333" y="2565932"/>
            <a:ext cx="4935603" cy="208494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0" name="TextBox 1840">
            <a:extLst>
              <a:ext uri="{FF2B5EF4-FFF2-40B4-BE49-F238E27FC236}">
                <a16:creationId xmlns:a16="http://schemas.microsoft.com/office/drawing/2014/main" id="{621B7EDF-46BE-446F-88E8-ACE637E21233}"/>
              </a:ext>
            </a:extLst>
          </p:cNvPr>
          <p:cNvSpPr txBox="1"/>
          <p:nvPr/>
        </p:nvSpPr>
        <p:spPr>
          <a:xfrm>
            <a:off x="6675976" y="3104470"/>
            <a:ext cx="4507204" cy="830997"/>
          </a:xfrm>
          <a:prstGeom prst="rect">
            <a:avLst/>
          </a:prstGeom>
          <a:noFill/>
        </p:spPr>
        <p:txBody>
          <a:bodyPr wrap="square" rtlCol="0">
            <a:spAutoFit/>
          </a:bodyPr>
          <a:lstStyle/>
          <a:p>
            <a:r>
              <a:rPr lang="fr-FR" sz="2400" dirty="0">
                <a:solidFill>
                  <a:schemeClr val="bg1"/>
                </a:solidFill>
              </a:rPr>
              <a:t>Pour passer simplement d’une branche à une autre, utilisez:</a:t>
            </a:r>
          </a:p>
        </p:txBody>
      </p:sp>
      <p:sp>
        <p:nvSpPr>
          <p:cNvPr id="14" name="Rounded Rectangle 76">
            <a:extLst>
              <a:ext uri="{FF2B5EF4-FFF2-40B4-BE49-F238E27FC236}">
                <a16:creationId xmlns:a16="http://schemas.microsoft.com/office/drawing/2014/main" id="{99190B4C-4241-4355-BE49-E603C7BA1110}"/>
              </a:ext>
            </a:extLst>
          </p:cNvPr>
          <p:cNvSpPr/>
          <p:nvPr/>
        </p:nvSpPr>
        <p:spPr>
          <a:xfrm>
            <a:off x="6247579" y="5681126"/>
            <a:ext cx="4935601" cy="662146"/>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98">
            <a:extLst>
              <a:ext uri="{FF2B5EF4-FFF2-40B4-BE49-F238E27FC236}">
                <a16:creationId xmlns:a16="http://schemas.microsoft.com/office/drawing/2014/main" id="{11D82FE2-4448-4229-AD8E-EA3F99926159}"/>
              </a:ext>
            </a:extLst>
          </p:cNvPr>
          <p:cNvSpPr txBox="1"/>
          <p:nvPr/>
        </p:nvSpPr>
        <p:spPr>
          <a:xfrm>
            <a:off x="6527952" y="5827533"/>
            <a:ext cx="4308370"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checkout &lt;nom-branch&gt;</a:t>
            </a:r>
          </a:p>
        </p:txBody>
      </p:sp>
    </p:spTree>
    <p:extLst>
      <p:ext uri="{BB962C8B-B14F-4D97-AF65-F5344CB8AC3E}">
        <p14:creationId xmlns:p14="http://schemas.microsoft.com/office/powerpoint/2010/main" val="40577486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837426" y="2565932"/>
            <a:ext cx="4935602" cy="208494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1025064" y="2646802"/>
            <a:ext cx="4507204" cy="1938992"/>
          </a:xfrm>
          <a:prstGeom prst="rect">
            <a:avLst/>
          </a:prstGeom>
          <a:noFill/>
        </p:spPr>
        <p:txBody>
          <a:bodyPr wrap="square" rtlCol="0">
            <a:spAutoFit/>
          </a:bodyPr>
          <a:lstStyle/>
          <a:p>
            <a:r>
              <a:rPr lang="fr-FR" sz="2400" dirty="0">
                <a:solidFill>
                  <a:schemeClr val="bg1"/>
                </a:solidFill>
              </a:rPr>
              <a:t>Cette commande </a:t>
            </a:r>
            <a:r>
              <a:rPr lang="fr-FR" sz="2400" dirty="0" err="1">
                <a:solidFill>
                  <a:schemeClr val="bg1"/>
                </a:solidFill>
              </a:rPr>
              <a:t>remote</a:t>
            </a:r>
            <a:r>
              <a:rPr lang="fr-FR" sz="2400" dirty="0">
                <a:solidFill>
                  <a:schemeClr val="bg1"/>
                </a:solidFill>
              </a:rPr>
              <a:t> permet à un utilisateur de se connecter à un dépôt distant. La commande suivante répertorie les dépôts distants actuellement configurés:</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7425" y="482462"/>
            <a:ext cx="1422042" cy="1137633"/>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837425" y="5713392"/>
            <a:ext cx="4935601" cy="662146"/>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1117798" y="5859799"/>
            <a:ext cx="4655228"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remote –v </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3962277" y="771845"/>
            <a:ext cx="5224411"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REMOTE</a:t>
            </a:r>
            <a:endParaRPr lang="en-LT" sz="4400" b="1" spc="300" dirty="0">
              <a:solidFill>
                <a:schemeClr val="tx1">
                  <a:lumMod val="75000"/>
                  <a:lumOff val="25000"/>
                </a:schemeClr>
              </a:solidFill>
              <a:latin typeface="Montserrat" pitchFamily="2" charset="77"/>
            </a:endParaRPr>
          </a:p>
        </p:txBody>
      </p:sp>
      <p:sp>
        <p:nvSpPr>
          <p:cNvPr id="9" name="Rectangle 8">
            <a:extLst>
              <a:ext uri="{FF2B5EF4-FFF2-40B4-BE49-F238E27FC236}">
                <a16:creationId xmlns:a16="http://schemas.microsoft.com/office/drawing/2014/main" id="{EB3C36B7-B376-4ABA-B54E-C64795621E71}"/>
              </a:ext>
            </a:extLst>
          </p:cNvPr>
          <p:cNvSpPr/>
          <p:nvPr/>
        </p:nvSpPr>
        <p:spPr>
          <a:xfrm>
            <a:off x="6231333" y="2565932"/>
            <a:ext cx="4935603" cy="208494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0" name="TextBox 1840">
            <a:extLst>
              <a:ext uri="{FF2B5EF4-FFF2-40B4-BE49-F238E27FC236}">
                <a16:creationId xmlns:a16="http://schemas.microsoft.com/office/drawing/2014/main" id="{621B7EDF-46BE-446F-88E8-ACE637E21233}"/>
              </a:ext>
            </a:extLst>
          </p:cNvPr>
          <p:cNvSpPr txBox="1"/>
          <p:nvPr/>
        </p:nvSpPr>
        <p:spPr>
          <a:xfrm>
            <a:off x="6527952" y="2828835"/>
            <a:ext cx="4507204" cy="1200329"/>
          </a:xfrm>
          <a:prstGeom prst="rect">
            <a:avLst/>
          </a:prstGeom>
          <a:noFill/>
        </p:spPr>
        <p:txBody>
          <a:bodyPr wrap="square" rtlCol="0">
            <a:spAutoFit/>
          </a:bodyPr>
          <a:lstStyle/>
          <a:p>
            <a:r>
              <a:rPr lang="fr-FR" sz="2400" dirty="0">
                <a:solidFill>
                  <a:schemeClr val="bg1"/>
                </a:solidFill>
              </a:rPr>
              <a:t>Cette commande permet à l’utilisateur de connecter le dépôt local à un serveur distant:</a:t>
            </a:r>
          </a:p>
        </p:txBody>
      </p:sp>
      <p:sp>
        <p:nvSpPr>
          <p:cNvPr id="14" name="Rounded Rectangle 76">
            <a:extLst>
              <a:ext uri="{FF2B5EF4-FFF2-40B4-BE49-F238E27FC236}">
                <a16:creationId xmlns:a16="http://schemas.microsoft.com/office/drawing/2014/main" id="{99190B4C-4241-4355-BE49-E603C7BA1110}"/>
              </a:ext>
            </a:extLst>
          </p:cNvPr>
          <p:cNvSpPr/>
          <p:nvPr/>
        </p:nvSpPr>
        <p:spPr>
          <a:xfrm>
            <a:off x="6247579" y="5681126"/>
            <a:ext cx="5106995" cy="662146"/>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98">
            <a:extLst>
              <a:ext uri="{FF2B5EF4-FFF2-40B4-BE49-F238E27FC236}">
                <a16:creationId xmlns:a16="http://schemas.microsoft.com/office/drawing/2014/main" id="{11D82FE2-4448-4229-AD8E-EA3F99926159}"/>
              </a:ext>
            </a:extLst>
          </p:cNvPr>
          <p:cNvSpPr txBox="1"/>
          <p:nvPr/>
        </p:nvSpPr>
        <p:spPr>
          <a:xfrm>
            <a:off x="6527951" y="5827533"/>
            <a:ext cx="4826623"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remote add origin &lt;nom-repo&gt;</a:t>
            </a:r>
          </a:p>
        </p:txBody>
      </p:sp>
    </p:spTree>
    <p:extLst>
      <p:ext uri="{BB962C8B-B14F-4D97-AF65-F5344CB8AC3E}">
        <p14:creationId xmlns:p14="http://schemas.microsoft.com/office/powerpoint/2010/main" val="34629177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837426" y="2565932"/>
            <a:ext cx="4935602" cy="208494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1025064" y="2646802"/>
            <a:ext cx="4507204" cy="1938992"/>
          </a:xfrm>
          <a:prstGeom prst="rect">
            <a:avLst/>
          </a:prstGeom>
          <a:noFill/>
        </p:spPr>
        <p:txBody>
          <a:bodyPr wrap="square" rtlCol="0">
            <a:spAutoFit/>
          </a:bodyPr>
          <a:lstStyle/>
          <a:p>
            <a:r>
              <a:rPr lang="fr-FR" sz="2400" dirty="0">
                <a:solidFill>
                  <a:schemeClr val="bg1"/>
                </a:solidFill>
              </a:rPr>
              <a:t>La commande git </a:t>
            </a:r>
            <a:r>
              <a:rPr lang="fr-FR" sz="2400" dirty="0" err="1">
                <a:solidFill>
                  <a:schemeClr val="bg1"/>
                </a:solidFill>
              </a:rPr>
              <a:t>branch</a:t>
            </a:r>
            <a:r>
              <a:rPr lang="fr-FR" sz="2400" dirty="0">
                <a:solidFill>
                  <a:schemeClr val="bg1"/>
                </a:solidFill>
              </a:rPr>
              <a:t> peut être utilisée pour répertorier, créer ou supprimer des branches. Pour répertorier toutes les branches présentes dans le dépôt, utilisez:</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0732" y="533215"/>
            <a:ext cx="995428" cy="1137633"/>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837425" y="5713392"/>
            <a:ext cx="4935601" cy="662146"/>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1117798" y="5859799"/>
            <a:ext cx="4655228"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branch  </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3962277" y="771845"/>
            <a:ext cx="5224411"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BRANCH</a:t>
            </a:r>
            <a:endParaRPr lang="en-LT" sz="4400" b="1" spc="300" dirty="0">
              <a:solidFill>
                <a:schemeClr val="tx1">
                  <a:lumMod val="75000"/>
                  <a:lumOff val="25000"/>
                </a:schemeClr>
              </a:solidFill>
              <a:latin typeface="Montserrat" pitchFamily="2" charset="77"/>
            </a:endParaRPr>
          </a:p>
        </p:txBody>
      </p:sp>
      <p:sp>
        <p:nvSpPr>
          <p:cNvPr id="9" name="Rectangle 8">
            <a:extLst>
              <a:ext uri="{FF2B5EF4-FFF2-40B4-BE49-F238E27FC236}">
                <a16:creationId xmlns:a16="http://schemas.microsoft.com/office/drawing/2014/main" id="{EB3C36B7-B376-4ABA-B54E-C64795621E71}"/>
              </a:ext>
            </a:extLst>
          </p:cNvPr>
          <p:cNvSpPr/>
          <p:nvPr/>
        </p:nvSpPr>
        <p:spPr>
          <a:xfrm>
            <a:off x="6231333" y="2565932"/>
            <a:ext cx="4935603" cy="208494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0" name="TextBox 1840">
            <a:extLst>
              <a:ext uri="{FF2B5EF4-FFF2-40B4-BE49-F238E27FC236}">
                <a16:creationId xmlns:a16="http://schemas.microsoft.com/office/drawing/2014/main" id="{621B7EDF-46BE-446F-88E8-ACE637E21233}"/>
              </a:ext>
            </a:extLst>
          </p:cNvPr>
          <p:cNvSpPr txBox="1"/>
          <p:nvPr/>
        </p:nvSpPr>
        <p:spPr>
          <a:xfrm>
            <a:off x="6527952" y="2828835"/>
            <a:ext cx="4507204" cy="461665"/>
          </a:xfrm>
          <a:prstGeom prst="rect">
            <a:avLst/>
          </a:prstGeom>
          <a:noFill/>
        </p:spPr>
        <p:txBody>
          <a:bodyPr wrap="square" rtlCol="0">
            <a:spAutoFit/>
          </a:bodyPr>
          <a:lstStyle/>
          <a:p>
            <a:r>
              <a:rPr lang="fr-FR" sz="2400" dirty="0">
                <a:solidFill>
                  <a:schemeClr val="bg1"/>
                </a:solidFill>
              </a:rPr>
              <a:t>Pour supprimer une branche:</a:t>
            </a:r>
          </a:p>
        </p:txBody>
      </p:sp>
      <p:sp>
        <p:nvSpPr>
          <p:cNvPr id="14" name="Rounded Rectangle 76">
            <a:extLst>
              <a:ext uri="{FF2B5EF4-FFF2-40B4-BE49-F238E27FC236}">
                <a16:creationId xmlns:a16="http://schemas.microsoft.com/office/drawing/2014/main" id="{99190B4C-4241-4355-BE49-E603C7BA1110}"/>
              </a:ext>
            </a:extLst>
          </p:cNvPr>
          <p:cNvSpPr/>
          <p:nvPr/>
        </p:nvSpPr>
        <p:spPr>
          <a:xfrm>
            <a:off x="6247579" y="5681126"/>
            <a:ext cx="5106995" cy="662146"/>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98">
            <a:extLst>
              <a:ext uri="{FF2B5EF4-FFF2-40B4-BE49-F238E27FC236}">
                <a16:creationId xmlns:a16="http://schemas.microsoft.com/office/drawing/2014/main" id="{11D82FE2-4448-4229-AD8E-EA3F99926159}"/>
              </a:ext>
            </a:extLst>
          </p:cNvPr>
          <p:cNvSpPr txBox="1"/>
          <p:nvPr/>
        </p:nvSpPr>
        <p:spPr>
          <a:xfrm>
            <a:off x="6527951" y="5827533"/>
            <a:ext cx="4826623"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branch -d &lt;nom-branch&gt;</a:t>
            </a:r>
          </a:p>
        </p:txBody>
      </p:sp>
    </p:spTree>
    <p:extLst>
      <p:ext uri="{BB962C8B-B14F-4D97-AF65-F5344CB8AC3E}">
        <p14:creationId xmlns:p14="http://schemas.microsoft.com/office/powerpoint/2010/main" val="1850573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163516" y="2938976"/>
            <a:ext cx="4385995" cy="1323439"/>
          </a:xfrm>
          <a:prstGeom prst="rect">
            <a:avLst/>
          </a:prstGeom>
          <a:noFill/>
        </p:spPr>
        <p:txBody>
          <a:bodyPr wrap="square" rtlCol="0">
            <a:spAutoFit/>
          </a:bodyPr>
          <a:lstStyle/>
          <a:p>
            <a:r>
              <a:rPr lang="fr-FR" sz="2000" dirty="0">
                <a:solidFill>
                  <a:schemeClr val="bg1"/>
                </a:solidFill>
              </a:rPr>
              <a:t>Pour fusionner toutes les modifications présentes sur le dépôt distant dans le répertoire de travail local, la commande pull est utilisée.</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69" y="650224"/>
            <a:ext cx="933191" cy="933191"/>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898069" y="5232705"/>
            <a:ext cx="4372474"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pull</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3406665"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PULL</a:t>
            </a:r>
            <a:endParaRPr lang="en-LT" sz="44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2361017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163516" y="2938976"/>
            <a:ext cx="4385995" cy="707886"/>
          </a:xfrm>
          <a:prstGeom prst="rect">
            <a:avLst/>
          </a:prstGeom>
          <a:noFill/>
        </p:spPr>
        <p:txBody>
          <a:bodyPr wrap="square" rtlCol="0">
            <a:spAutoFit/>
          </a:bodyPr>
          <a:lstStyle/>
          <a:p>
            <a:r>
              <a:rPr lang="fr-FR" sz="2000" dirty="0">
                <a:solidFill>
                  <a:schemeClr val="bg1"/>
                </a:solidFill>
              </a:rPr>
              <a:t>L’ exécution de cette commande génère le log d’une branche</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6617" y="717553"/>
            <a:ext cx="1117736" cy="894188"/>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898069" y="5232705"/>
            <a:ext cx="4372474"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log</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3406665"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LOG</a:t>
            </a:r>
            <a:endParaRPr lang="en-LT" sz="44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3229648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F466F"/>
        </a:solidFill>
        <a:effectLst/>
      </p:bgPr>
    </p:bg>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494D2868-6C4F-D742-8766-0247B2BA2A73}"/>
              </a:ext>
            </a:extLst>
          </p:cNvPr>
          <p:cNvGrpSpPr/>
          <p:nvPr/>
        </p:nvGrpSpPr>
        <p:grpSpPr>
          <a:xfrm>
            <a:off x="866458" y="494367"/>
            <a:ext cx="827568" cy="828000"/>
            <a:chOff x="-842559" y="468160"/>
            <a:chExt cx="827568" cy="828000"/>
          </a:xfrm>
        </p:grpSpPr>
        <p:sp>
          <p:nvSpPr>
            <p:cNvPr id="62" name="Oval 61">
              <a:extLst>
                <a:ext uri="{FF2B5EF4-FFF2-40B4-BE49-F238E27FC236}">
                  <a16:creationId xmlns:a16="http://schemas.microsoft.com/office/drawing/2014/main" id="{5D71F397-1AD5-BB4D-8BA9-29771243D940}"/>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3" name="Graphic 62" descr="Lightbulb">
              <a:hlinkClick r:id="rId3" action="ppaction://hlinksldjump"/>
              <a:extLst>
                <a:ext uri="{FF2B5EF4-FFF2-40B4-BE49-F238E27FC236}">
                  <a16:creationId xmlns:a16="http://schemas.microsoft.com/office/drawing/2014/main" id="{B653EF25-520D-C345-B8BC-462CA47CA4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0293" y="530642"/>
              <a:ext cx="703036" cy="703036"/>
            </a:xfrm>
            <a:prstGeom prst="rect">
              <a:avLst/>
            </a:prstGeom>
          </p:spPr>
        </p:pic>
      </p:grpSp>
      <p:grpSp>
        <p:nvGrpSpPr>
          <p:cNvPr id="64" name="Group 63">
            <a:extLst>
              <a:ext uri="{FF2B5EF4-FFF2-40B4-BE49-F238E27FC236}">
                <a16:creationId xmlns:a16="http://schemas.microsoft.com/office/drawing/2014/main" id="{6FCF0F4A-F8A4-9344-8B5C-35A9795DF560}"/>
              </a:ext>
            </a:extLst>
          </p:cNvPr>
          <p:cNvGrpSpPr/>
          <p:nvPr/>
        </p:nvGrpSpPr>
        <p:grpSpPr>
          <a:xfrm>
            <a:off x="-842559" y="1741580"/>
            <a:ext cx="827568" cy="828000"/>
            <a:chOff x="-842559" y="1741580"/>
            <a:chExt cx="827568" cy="828000"/>
          </a:xfrm>
        </p:grpSpPr>
        <p:sp>
          <p:nvSpPr>
            <p:cNvPr id="65" name="Oval 64">
              <a:extLst>
                <a:ext uri="{FF2B5EF4-FFF2-40B4-BE49-F238E27FC236}">
                  <a16:creationId xmlns:a16="http://schemas.microsoft.com/office/drawing/2014/main" id="{EDF69A96-9C62-1849-B04C-6B01A452ED6F}"/>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6" name="Graphic 65" descr="Point d’exclamation">
              <a:extLst>
                <a:ext uri="{FF2B5EF4-FFF2-40B4-BE49-F238E27FC236}">
                  <a16:creationId xmlns:a16="http://schemas.microsoft.com/office/drawing/2014/main" id="{84EE1DCD-9CA3-1A4F-9488-7E04A1838BB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943" y="1849412"/>
              <a:ext cx="612336" cy="612336"/>
            </a:xfrm>
            <a:prstGeom prst="rect">
              <a:avLst/>
            </a:prstGeom>
          </p:spPr>
        </p:pic>
      </p:grpSp>
      <p:grpSp>
        <p:nvGrpSpPr>
          <p:cNvPr id="67" name="Group 66">
            <a:extLst>
              <a:ext uri="{FF2B5EF4-FFF2-40B4-BE49-F238E27FC236}">
                <a16:creationId xmlns:a16="http://schemas.microsoft.com/office/drawing/2014/main" id="{185E031E-10C8-5A45-B6F2-66B39AA91C86}"/>
              </a:ext>
            </a:extLst>
          </p:cNvPr>
          <p:cNvGrpSpPr/>
          <p:nvPr/>
        </p:nvGrpSpPr>
        <p:grpSpPr>
          <a:xfrm>
            <a:off x="-842559" y="4288420"/>
            <a:ext cx="827568" cy="828000"/>
            <a:chOff x="-842559" y="4288420"/>
            <a:chExt cx="827568" cy="828000"/>
          </a:xfrm>
        </p:grpSpPr>
        <p:sp>
          <p:nvSpPr>
            <p:cNvPr id="68" name="Oval 67">
              <a:extLst>
                <a:ext uri="{FF2B5EF4-FFF2-40B4-BE49-F238E27FC236}">
                  <a16:creationId xmlns:a16="http://schemas.microsoft.com/office/drawing/2014/main" id="{8641D6DE-CE6E-894A-92F2-68D360E3055D}"/>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9" name="Graphic 68" descr="Single gear">
              <a:extLst>
                <a:ext uri="{FF2B5EF4-FFF2-40B4-BE49-F238E27FC236}">
                  <a16:creationId xmlns:a16="http://schemas.microsoft.com/office/drawing/2014/main" id="{99491C5A-4007-FA44-A691-DA4DA699D4F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0293" y="4363185"/>
              <a:ext cx="724649" cy="724649"/>
            </a:xfrm>
            <a:prstGeom prst="rect">
              <a:avLst/>
            </a:prstGeom>
          </p:spPr>
        </p:pic>
      </p:grpSp>
      <p:grpSp>
        <p:nvGrpSpPr>
          <p:cNvPr id="70" name="Group 69">
            <a:extLst>
              <a:ext uri="{FF2B5EF4-FFF2-40B4-BE49-F238E27FC236}">
                <a16:creationId xmlns:a16="http://schemas.microsoft.com/office/drawing/2014/main" id="{8715754F-3045-DA4B-B2A9-15B88EEAF8B2}"/>
              </a:ext>
            </a:extLst>
          </p:cNvPr>
          <p:cNvGrpSpPr/>
          <p:nvPr/>
        </p:nvGrpSpPr>
        <p:grpSpPr>
          <a:xfrm>
            <a:off x="-842559" y="5561839"/>
            <a:ext cx="827568" cy="828000"/>
            <a:chOff x="-842559" y="5561839"/>
            <a:chExt cx="827568" cy="828000"/>
          </a:xfrm>
        </p:grpSpPr>
        <p:sp>
          <p:nvSpPr>
            <p:cNvPr id="71" name="Oval 70">
              <a:extLst>
                <a:ext uri="{FF2B5EF4-FFF2-40B4-BE49-F238E27FC236}">
                  <a16:creationId xmlns:a16="http://schemas.microsoft.com/office/drawing/2014/main" id="{05FDCAF5-9C98-CA44-9849-B16E48628C00}"/>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72" name="Graphic 71">
              <a:hlinkClick r:id="rId10" action="ppaction://hlinksldjump"/>
              <a:extLst>
                <a:ext uri="{FF2B5EF4-FFF2-40B4-BE49-F238E27FC236}">
                  <a16:creationId xmlns:a16="http://schemas.microsoft.com/office/drawing/2014/main" id="{51D8C772-9E20-5E41-A663-9F8986C2E75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8694" y="5715407"/>
              <a:ext cx="507763" cy="451345"/>
            </a:xfrm>
            <a:prstGeom prst="rect">
              <a:avLst/>
            </a:prstGeom>
          </p:spPr>
        </p:pic>
      </p:grpSp>
      <p:grpSp>
        <p:nvGrpSpPr>
          <p:cNvPr id="73" name="Group 72">
            <a:extLst>
              <a:ext uri="{FF2B5EF4-FFF2-40B4-BE49-F238E27FC236}">
                <a16:creationId xmlns:a16="http://schemas.microsoft.com/office/drawing/2014/main" id="{E5CEAEE4-C867-4343-9D62-70C903A38BB9}"/>
              </a:ext>
            </a:extLst>
          </p:cNvPr>
          <p:cNvGrpSpPr/>
          <p:nvPr/>
        </p:nvGrpSpPr>
        <p:grpSpPr>
          <a:xfrm>
            <a:off x="-842559" y="3015000"/>
            <a:ext cx="827568" cy="828000"/>
            <a:chOff x="-837416" y="3015000"/>
            <a:chExt cx="827568" cy="828000"/>
          </a:xfrm>
        </p:grpSpPr>
        <p:sp>
          <p:nvSpPr>
            <p:cNvPr id="74" name="Oval 73">
              <a:extLst>
                <a:ext uri="{FF2B5EF4-FFF2-40B4-BE49-F238E27FC236}">
                  <a16:creationId xmlns:a16="http://schemas.microsoft.com/office/drawing/2014/main" id="{3CFD9EA6-6323-074D-A620-AB90F8B3536A}"/>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75" name="Graphic 74">
              <a:extLst>
                <a:ext uri="{FF2B5EF4-FFF2-40B4-BE49-F238E27FC236}">
                  <a16:creationId xmlns:a16="http://schemas.microsoft.com/office/drawing/2014/main" id="{C1BB8E9A-EC1B-714F-8AE1-E2299A69536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13670" y="3127457"/>
              <a:ext cx="620915" cy="620915"/>
            </a:xfrm>
            <a:prstGeom prst="rect">
              <a:avLst/>
            </a:prstGeom>
          </p:spPr>
        </p:pic>
      </p:grpSp>
      <p:sp>
        <p:nvSpPr>
          <p:cNvPr id="76" name="Freeform 75">
            <a:extLst>
              <a:ext uri="{FF2B5EF4-FFF2-40B4-BE49-F238E27FC236}">
                <a16:creationId xmlns:a16="http://schemas.microsoft.com/office/drawing/2014/main" id="{A7181189-D4CB-4748-A2F2-9E601AF2DD72}"/>
              </a:ext>
            </a:extLst>
          </p:cNvPr>
          <p:cNvSpPr/>
          <p:nvPr/>
        </p:nvSpPr>
        <p:spPr>
          <a:xfrm>
            <a:off x="0" y="-11081241"/>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77" name="Graphic 76" descr="Lightbulb">
            <a:hlinkClick r:id="rId3" action="ppaction://hlinksldjump"/>
            <a:extLst>
              <a:ext uri="{FF2B5EF4-FFF2-40B4-BE49-F238E27FC236}">
                <a16:creationId xmlns:a16="http://schemas.microsoft.com/office/drawing/2014/main" id="{D204EC63-8A98-E944-8E9B-EF61D5A2C15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77756" y="530641"/>
            <a:ext cx="703036" cy="703036"/>
          </a:xfrm>
          <a:prstGeom prst="rect">
            <a:avLst/>
          </a:prstGeom>
        </p:spPr>
      </p:pic>
      <p:pic>
        <p:nvPicPr>
          <p:cNvPr id="78" name="Graphic 77" descr="Point d’exclamation">
            <a:hlinkClick r:id="rId17" action="ppaction://hlinksldjump"/>
            <a:extLst>
              <a:ext uri="{FF2B5EF4-FFF2-40B4-BE49-F238E27FC236}">
                <a16:creationId xmlns:a16="http://schemas.microsoft.com/office/drawing/2014/main" id="{6B3E228B-8807-F340-A63F-9D9D353605B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23106" y="1849411"/>
            <a:ext cx="612336" cy="612336"/>
          </a:xfrm>
          <a:prstGeom prst="rect">
            <a:avLst/>
          </a:prstGeom>
        </p:spPr>
      </p:pic>
      <p:pic>
        <p:nvPicPr>
          <p:cNvPr id="79" name="Graphic 78">
            <a:hlinkClick r:id="rId20" action="ppaction://hlinksldjump"/>
            <a:extLst>
              <a:ext uri="{FF2B5EF4-FFF2-40B4-BE49-F238E27FC236}">
                <a16:creationId xmlns:a16="http://schemas.microsoft.com/office/drawing/2014/main" id="{0FC508E8-95FC-5A47-8916-7840CF79578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59877" y="3065464"/>
            <a:ext cx="620915" cy="620915"/>
          </a:xfrm>
          <a:prstGeom prst="rect">
            <a:avLst/>
          </a:prstGeom>
        </p:spPr>
      </p:pic>
      <p:pic>
        <p:nvPicPr>
          <p:cNvPr id="80" name="Graphic 79" descr="Single gear">
            <a:hlinkClick r:id="rId23" action="ppaction://hlinksldjump"/>
            <a:extLst>
              <a:ext uri="{FF2B5EF4-FFF2-40B4-BE49-F238E27FC236}">
                <a16:creationId xmlns:a16="http://schemas.microsoft.com/office/drawing/2014/main" id="{E18863DD-7DD2-4246-8F3A-C8B8C6FF42B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77756" y="4363184"/>
            <a:ext cx="724649" cy="724649"/>
          </a:xfrm>
          <a:prstGeom prst="rect">
            <a:avLst/>
          </a:prstGeom>
        </p:spPr>
      </p:pic>
      <p:pic>
        <p:nvPicPr>
          <p:cNvPr id="81" name="Graphic 80">
            <a:hlinkClick r:id="rId10" action="ppaction://hlinksldjump"/>
            <a:extLst>
              <a:ext uri="{FF2B5EF4-FFF2-40B4-BE49-F238E27FC236}">
                <a16:creationId xmlns:a16="http://schemas.microsoft.com/office/drawing/2014/main" id="{91581E61-D44A-9A4B-B225-DC06A4724A39}"/>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94819" y="5715407"/>
            <a:ext cx="585973" cy="520864"/>
          </a:xfrm>
          <a:prstGeom prst="rect">
            <a:avLst/>
          </a:prstGeom>
        </p:spPr>
      </p:pic>
      <p:grpSp>
        <p:nvGrpSpPr>
          <p:cNvPr id="82" name="!!lamp">
            <a:extLst>
              <a:ext uri="{FF2B5EF4-FFF2-40B4-BE49-F238E27FC236}">
                <a16:creationId xmlns:a16="http://schemas.microsoft.com/office/drawing/2014/main" id="{F273F484-4A58-9547-9984-B21F38624CEF}"/>
              </a:ext>
            </a:extLst>
          </p:cNvPr>
          <p:cNvGrpSpPr/>
          <p:nvPr/>
        </p:nvGrpSpPr>
        <p:grpSpPr>
          <a:xfrm>
            <a:off x="4906122" y="1883265"/>
            <a:ext cx="3022850" cy="3794966"/>
            <a:chOff x="5651500" y="2863849"/>
            <a:chExt cx="887355" cy="1114011"/>
          </a:xfrm>
          <a:solidFill>
            <a:schemeClr val="bg1"/>
          </a:solidFill>
        </p:grpSpPr>
        <p:sp>
          <p:nvSpPr>
            <p:cNvPr id="83" name="Freeform 82">
              <a:hlinkClick r:id="rId3" action="ppaction://hlinksldjump"/>
              <a:extLst>
                <a:ext uri="{FF2B5EF4-FFF2-40B4-BE49-F238E27FC236}">
                  <a16:creationId xmlns:a16="http://schemas.microsoft.com/office/drawing/2014/main" id="{3C1E313D-FBB5-7F4E-9F8B-FBD3D194741F}"/>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84" name="Freeform 83">
              <a:extLst>
                <a:ext uri="{FF2B5EF4-FFF2-40B4-BE49-F238E27FC236}">
                  <a16:creationId xmlns:a16="http://schemas.microsoft.com/office/drawing/2014/main" id="{FC67537C-4CF3-8F42-963E-5DA28E031867}"/>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85" name="Freeform 84">
              <a:extLst>
                <a:ext uri="{FF2B5EF4-FFF2-40B4-BE49-F238E27FC236}">
                  <a16:creationId xmlns:a16="http://schemas.microsoft.com/office/drawing/2014/main" id="{C22070DE-306A-BF41-BCC7-EDAB7B96D308}"/>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86" name="Freeform 85">
              <a:extLst>
                <a:ext uri="{FF2B5EF4-FFF2-40B4-BE49-F238E27FC236}">
                  <a16:creationId xmlns:a16="http://schemas.microsoft.com/office/drawing/2014/main" id="{2706732C-21E9-EE40-85CA-2FF17D929A12}"/>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87" name="Freeform 86">
              <a:extLst>
                <a:ext uri="{FF2B5EF4-FFF2-40B4-BE49-F238E27FC236}">
                  <a16:creationId xmlns:a16="http://schemas.microsoft.com/office/drawing/2014/main" id="{E85AE113-B206-B546-9571-562A9C2ED191}"/>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88" name="Freeform 87">
              <a:extLst>
                <a:ext uri="{FF2B5EF4-FFF2-40B4-BE49-F238E27FC236}">
                  <a16:creationId xmlns:a16="http://schemas.microsoft.com/office/drawing/2014/main" id="{973D510E-B984-6C48-A9AF-41DBDF267C95}"/>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89" name="Freeform 88">
              <a:extLst>
                <a:ext uri="{FF2B5EF4-FFF2-40B4-BE49-F238E27FC236}">
                  <a16:creationId xmlns:a16="http://schemas.microsoft.com/office/drawing/2014/main" id="{262E89FB-511B-884E-9382-F91FB3C95286}"/>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90" name="Freeform 89">
              <a:extLst>
                <a:ext uri="{FF2B5EF4-FFF2-40B4-BE49-F238E27FC236}">
                  <a16:creationId xmlns:a16="http://schemas.microsoft.com/office/drawing/2014/main" id="{5F4F70BA-0039-DF47-B651-D161A877F0E0}"/>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91" name="Freeform 90">
              <a:extLst>
                <a:ext uri="{FF2B5EF4-FFF2-40B4-BE49-F238E27FC236}">
                  <a16:creationId xmlns:a16="http://schemas.microsoft.com/office/drawing/2014/main" id="{4ACB5DF3-84CD-C445-9E33-F05753423BA8}"/>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92" name="Freeform 91">
              <a:extLst>
                <a:ext uri="{FF2B5EF4-FFF2-40B4-BE49-F238E27FC236}">
                  <a16:creationId xmlns:a16="http://schemas.microsoft.com/office/drawing/2014/main" id="{9C623BDE-B1B7-9E4B-B24B-09A835E2C590}"/>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93" name="Freeform 92">
              <a:extLst>
                <a:ext uri="{FF2B5EF4-FFF2-40B4-BE49-F238E27FC236}">
                  <a16:creationId xmlns:a16="http://schemas.microsoft.com/office/drawing/2014/main" id="{7BDF60B3-7C5F-4B42-8D61-E8112339713F}"/>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94" name="Freeform 93">
              <a:extLst>
                <a:ext uri="{FF2B5EF4-FFF2-40B4-BE49-F238E27FC236}">
                  <a16:creationId xmlns:a16="http://schemas.microsoft.com/office/drawing/2014/main" id="{98ABDD26-A86C-1A4C-9F71-04581EDB03AE}"/>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95" name="Freeform 94">
              <a:extLst>
                <a:ext uri="{FF2B5EF4-FFF2-40B4-BE49-F238E27FC236}">
                  <a16:creationId xmlns:a16="http://schemas.microsoft.com/office/drawing/2014/main" id="{F044B3F1-2B0F-E241-B4C5-01C1416D9D92}"/>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96" name="TextBox 95">
            <a:extLst>
              <a:ext uri="{FF2B5EF4-FFF2-40B4-BE49-F238E27FC236}">
                <a16:creationId xmlns:a16="http://schemas.microsoft.com/office/drawing/2014/main" id="{E50E211D-7AD6-E54C-9F56-DE302AE674D3}"/>
              </a:ext>
            </a:extLst>
          </p:cNvPr>
          <p:cNvSpPr txBox="1"/>
          <p:nvPr/>
        </p:nvSpPr>
        <p:spPr>
          <a:xfrm>
            <a:off x="5651151" y="583080"/>
            <a:ext cx="1532792" cy="584775"/>
          </a:xfrm>
          <a:prstGeom prst="rect">
            <a:avLst/>
          </a:prstGeom>
          <a:noFill/>
        </p:spPr>
        <p:txBody>
          <a:bodyPr wrap="none" rtlCol="0">
            <a:spAutoFit/>
          </a:bodyPr>
          <a:lstStyle/>
          <a:p>
            <a:pPr algn="ctr"/>
            <a:r>
              <a:rPr lang="fr-FR" sz="3200" b="1" spc="300" dirty="0">
                <a:solidFill>
                  <a:schemeClr val="bg1"/>
                </a:solidFill>
                <a:latin typeface="Montserrat" pitchFamily="2" charset="77"/>
              </a:rPr>
              <a:t>PLAN</a:t>
            </a:r>
            <a:endParaRPr lang="en-LT" sz="3200" b="1" spc="300" dirty="0">
              <a:solidFill>
                <a:schemeClr val="bg1"/>
              </a:solidFill>
              <a:latin typeface="Montserrat" pitchFamily="2" charset="77"/>
            </a:endParaRPr>
          </a:p>
        </p:txBody>
      </p:sp>
      <p:grpSp>
        <p:nvGrpSpPr>
          <p:cNvPr id="114" name="Group 113">
            <a:extLst>
              <a:ext uri="{FF2B5EF4-FFF2-40B4-BE49-F238E27FC236}">
                <a16:creationId xmlns:a16="http://schemas.microsoft.com/office/drawing/2014/main" id="{0120D284-99DA-F049-BE75-21C60BC32AE8}"/>
              </a:ext>
            </a:extLst>
          </p:cNvPr>
          <p:cNvGrpSpPr/>
          <p:nvPr/>
        </p:nvGrpSpPr>
        <p:grpSpPr>
          <a:xfrm>
            <a:off x="2240599" y="3931887"/>
            <a:ext cx="2073003" cy="1550343"/>
            <a:chOff x="2210588" y="1452566"/>
            <a:chExt cx="2073003" cy="1550343"/>
          </a:xfrm>
        </p:grpSpPr>
        <p:grpSp>
          <p:nvGrpSpPr>
            <p:cNvPr id="115" name="Graphic 4">
              <a:extLst>
                <a:ext uri="{FF2B5EF4-FFF2-40B4-BE49-F238E27FC236}">
                  <a16:creationId xmlns:a16="http://schemas.microsoft.com/office/drawing/2014/main" id="{F32653A8-3F94-8745-A995-961A347308BA}"/>
                </a:ext>
              </a:extLst>
            </p:cNvPr>
            <p:cNvGrpSpPr/>
            <p:nvPr/>
          </p:nvGrpSpPr>
          <p:grpSpPr>
            <a:xfrm>
              <a:off x="2791854" y="1452566"/>
              <a:ext cx="910470" cy="1143028"/>
              <a:chOff x="5651500" y="2863849"/>
              <a:chExt cx="887355" cy="1114011"/>
            </a:xfrm>
            <a:solidFill>
              <a:schemeClr val="bg1"/>
            </a:solidFill>
          </p:grpSpPr>
          <p:sp>
            <p:nvSpPr>
              <p:cNvPr id="118" name="Freeform 117">
                <a:hlinkClick r:id="rId20" action="ppaction://hlinksldjump"/>
                <a:extLst>
                  <a:ext uri="{FF2B5EF4-FFF2-40B4-BE49-F238E27FC236}">
                    <a16:creationId xmlns:a16="http://schemas.microsoft.com/office/drawing/2014/main" id="{45790CAE-6BF6-5C45-B259-042C55FBB481}"/>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dirty="0"/>
              </a:p>
            </p:txBody>
          </p:sp>
          <p:sp>
            <p:nvSpPr>
              <p:cNvPr id="119" name="Freeform 118">
                <a:extLst>
                  <a:ext uri="{FF2B5EF4-FFF2-40B4-BE49-F238E27FC236}">
                    <a16:creationId xmlns:a16="http://schemas.microsoft.com/office/drawing/2014/main" id="{9AE8A551-68DB-EC4C-94C4-49FD1A28EE09}"/>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20" name="Freeform 119">
                <a:extLst>
                  <a:ext uri="{FF2B5EF4-FFF2-40B4-BE49-F238E27FC236}">
                    <a16:creationId xmlns:a16="http://schemas.microsoft.com/office/drawing/2014/main" id="{486E796E-F002-2544-A572-37D8EC6792DA}"/>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21" name="Freeform 120">
                <a:extLst>
                  <a:ext uri="{FF2B5EF4-FFF2-40B4-BE49-F238E27FC236}">
                    <a16:creationId xmlns:a16="http://schemas.microsoft.com/office/drawing/2014/main" id="{7FAACBE3-B837-3746-9D96-EE94F19950D1}"/>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22" name="Freeform 121">
                <a:extLst>
                  <a:ext uri="{FF2B5EF4-FFF2-40B4-BE49-F238E27FC236}">
                    <a16:creationId xmlns:a16="http://schemas.microsoft.com/office/drawing/2014/main" id="{1A64511E-36AB-8C45-8E3F-1DC3F1A2045B}"/>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23" name="Freeform 122">
                <a:extLst>
                  <a:ext uri="{FF2B5EF4-FFF2-40B4-BE49-F238E27FC236}">
                    <a16:creationId xmlns:a16="http://schemas.microsoft.com/office/drawing/2014/main" id="{0BB4E022-B038-1746-9B19-E2F453A3A1A3}"/>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24" name="Freeform 123">
                <a:extLst>
                  <a:ext uri="{FF2B5EF4-FFF2-40B4-BE49-F238E27FC236}">
                    <a16:creationId xmlns:a16="http://schemas.microsoft.com/office/drawing/2014/main" id="{4DEECB5E-81CE-034A-8C3B-47574632F85D}"/>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25" name="Freeform 124">
                <a:extLst>
                  <a:ext uri="{FF2B5EF4-FFF2-40B4-BE49-F238E27FC236}">
                    <a16:creationId xmlns:a16="http://schemas.microsoft.com/office/drawing/2014/main" id="{FE3E171D-4CB0-204D-89E0-F5767A7B3616}"/>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26" name="Freeform 125">
                <a:extLst>
                  <a:ext uri="{FF2B5EF4-FFF2-40B4-BE49-F238E27FC236}">
                    <a16:creationId xmlns:a16="http://schemas.microsoft.com/office/drawing/2014/main" id="{50F2A260-300C-B542-AB9B-EC2149CF67F8}"/>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27" name="Freeform 126">
                <a:extLst>
                  <a:ext uri="{FF2B5EF4-FFF2-40B4-BE49-F238E27FC236}">
                    <a16:creationId xmlns:a16="http://schemas.microsoft.com/office/drawing/2014/main" id="{7AF4A482-0559-9D47-85C8-86DC08587932}"/>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28" name="Freeform 127">
                <a:extLst>
                  <a:ext uri="{FF2B5EF4-FFF2-40B4-BE49-F238E27FC236}">
                    <a16:creationId xmlns:a16="http://schemas.microsoft.com/office/drawing/2014/main" id="{55BABF60-8DE8-0644-AD8D-4BE965DBCA2C}"/>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29" name="Freeform 128">
                <a:extLst>
                  <a:ext uri="{FF2B5EF4-FFF2-40B4-BE49-F238E27FC236}">
                    <a16:creationId xmlns:a16="http://schemas.microsoft.com/office/drawing/2014/main" id="{B8DC9B8B-8561-C946-9939-A5D37AC4384C}"/>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30" name="Freeform 129">
                <a:extLst>
                  <a:ext uri="{FF2B5EF4-FFF2-40B4-BE49-F238E27FC236}">
                    <a16:creationId xmlns:a16="http://schemas.microsoft.com/office/drawing/2014/main" id="{A670805F-28A8-E445-BB50-A261D743AEB0}"/>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16" name="TextBox 115">
              <a:hlinkClick r:id="rId20" action="ppaction://hlinksldjump"/>
              <a:extLst>
                <a:ext uri="{FF2B5EF4-FFF2-40B4-BE49-F238E27FC236}">
                  <a16:creationId xmlns:a16="http://schemas.microsoft.com/office/drawing/2014/main" id="{25F097BE-7BA9-074C-93EF-077EFD4CB9CE}"/>
                </a:ext>
              </a:extLst>
            </p:cNvPr>
            <p:cNvSpPr txBox="1"/>
            <p:nvPr/>
          </p:nvSpPr>
          <p:spPr>
            <a:xfrm>
              <a:off x="2210588" y="2633577"/>
              <a:ext cx="2073003" cy="369332"/>
            </a:xfrm>
            <a:prstGeom prst="rect">
              <a:avLst/>
            </a:prstGeom>
            <a:noFill/>
          </p:spPr>
          <p:txBody>
            <a:bodyPr wrap="none" rtlCol="0">
              <a:spAutoFit/>
            </a:bodyPr>
            <a:lstStyle/>
            <a:p>
              <a:pPr algn="ctr"/>
              <a:r>
                <a:rPr lang="fr-FR" b="1" spc="300" dirty="0">
                  <a:solidFill>
                    <a:schemeClr val="bg1"/>
                  </a:solidFill>
                  <a:latin typeface="Montserrat" pitchFamily="2" charset="77"/>
                </a:rPr>
                <a:t>GIT&amp;GITHUB</a:t>
              </a:r>
            </a:p>
          </p:txBody>
        </p:sp>
      </p:grpSp>
      <p:grpSp>
        <p:nvGrpSpPr>
          <p:cNvPr id="131" name="Group 130">
            <a:extLst>
              <a:ext uri="{FF2B5EF4-FFF2-40B4-BE49-F238E27FC236}">
                <a16:creationId xmlns:a16="http://schemas.microsoft.com/office/drawing/2014/main" id="{8D4B8F63-7B19-4240-AC4F-2B3589E45667}"/>
              </a:ext>
            </a:extLst>
          </p:cNvPr>
          <p:cNvGrpSpPr/>
          <p:nvPr/>
        </p:nvGrpSpPr>
        <p:grpSpPr>
          <a:xfrm>
            <a:off x="8519865" y="1452566"/>
            <a:ext cx="2215670" cy="1550343"/>
            <a:chOff x="2214206" y="1452566"/>
            <a:chExt cx="2215670" cy="1550343"/>
          </a:xfrm>
        </p:grpSpPr>
        <p:grpSp>
          <p:nvGrpSpPr>
            <p:cNvPr id="132" name="Graphic 4">
              <a:extLst>
                <a:ext uri="{FF2B5EF4-FFF2-40B4-BE49-F238E27FC236}">
                  <a16:creationId xmlns:a16="http://schemas.microsoft.com/office/drawing/2014/main" id="{F566A078-10A0-5F4E-8567-D1B9036E74D3}"/>
                </a:ext>
              </a:extLst>
            </p:cNvPr>
            <p:cNvGrpSpPr/>
            <p:nvPr/>
          </p:nvGrpSpPr>
          <p:grpSpPr>
            <a:xfrm>
              <a:off x="2791854" y="1452566"/>
              <a:ext cx="910470" cy="1143028"/>
              <a:chOff x="5651500" y="2863849"/>
              <a:chExt cx="887355" cy="1114011"/>
            </a:xfrm>
            <a:solidFill>
              <a:schemeClr val="bg1"/>
            </a:solidFill>
          </p:grpSpPr>
          <p:sp>
            <p:nvSpPr>
              <p:cNvPr id="135" name="Freeform 134">
                <a:hlinkClick r:id="rId28" action="ppaction://hlinksldjump"/>
                <a:extLst>
                  <a:ext uri="{FF2B5EF4-FFF2-40B4-BE49-F238E27FC236}">
                    <a16:creationId xmlns:a16="http://schemas.microsoft.com/office/drawing/2014/main" id="{F9F961DB-5A69-DD4B-8EBD-A9D846B94A27}"/>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36" name="Freeform 135">
                <a:extLst>
                  <a:ext uri="{FF2B5EF4-FFF2-40B4-BE49-F238E27FC236}">
                    <a16:creationId xmlns:a16="http://schemas.microsoft.com/office/drawing/2014/main" id="{0B6138A0-E868-B542-98B6-AC757D3D9B47}"/>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37" name="Freeform 136">
                <a:extLst>
                  <a:ext uri="{FF2B5EF4-FFF2-40B4-BE49-F238E27FC236}">
                    <a16:creationId xmlns:a16="http://schemas.microsoft.com/office/drawing/2014/main" id="{62D0E009-2DB9-5F47-B190-AABC72B62C24}"/>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38" name="Freeform 137">
                <a:extLst>
                  <a:ext uri="{FF2B5EF4-FFF2-40B4-BE49-F238E27FC236}">
                    <a16:creationId xmlns:a16="http://schemas.microsoft.com/office/drawing/2014/main" id="{8E0E0B4A-97BB-3E43-A815-9CCA556588F8}"/>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39" name="Freeform 138">
                <a:extLst>
                  <a:ext uri="{FF2B5EF4-FFF2-40B4-BE49-F238E27FC236}">
                    <a16:creationId xmlns:a16="http://schemas.microsoft.com/office/drawing/2014/main" id="{CDA4B245-5968-4E44-8A16-AA64A8FACC41}"/>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40" name="Freeform 139">
                <a:extLst>
                  <a:ext uri="{FF2B5EF4-FFF2-40B4-BE49-F238E27FC236}">
                    <a16:creationId xmlns:a16="http://schemas.microsoft.com/office/drawing/2014/main" id="{EDBFF36C-18E0-A944-9ED4-20A3A75249E6}"/>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41" name="Freeform 140">
                <a:extLst>
                  <a:ext uri="{FF2B5EF4-FFF2-40B4-BE49-F238E27FC236}">
                    <a16:creationId xmlns:a16="http://schemas.microsoft.com/office/drawing/2014/main" id="{7C8AEE45-59E8-CD4B-953D-3D681B92F530}"/>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42" name="Freeform 141">
                <a:extLst>
                  <a:ext uri="{FF2B5EF4-FFF2-40B4-BE49-F238E27FC236}">
                    <a16:creationId xmlns:a16="http://schemas.microsoft.com/office/drawing/2014/main" id="{5E77D061-B89B-3948-9DD1-E7486EB43C05}"/>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43" name="Freeform 142">
                <a:extLst>
                  <a:ext uri="{FF2B5EF4-FFF2-40B4-BE49-F238E27FC236}">
                    <a16:creationId xmlns:a16="http://schemas.microsoft.com/office/drawing/2014/main" id="{CB70A925-D786-5F43-9B97-7C4A26D841DF}"/>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44" name="Freeform 143">
                <a:extLst>
                  <a:ext uri="{FF2B5EF4-FFF2-40B4-BE49-F238E27FC236}">
                    <a16:creationId xmlns:a16="http://schemas.microsoft.com/office/drawing/2014/main" id="{9259E23E-7C38-0049-904F-273D77C152F2}"/>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45" name="Freeform 144">
                <a:extLst>
                  <a:ext uri="{FF2B5EF4-FFF2-40B4-BE49-F238E27FC236}">
                    <a16:creationId xmlns:a16="http://schemas.microsoft.com/office/drawing/2014/main" id="{A3CCF439-58EF-5C48-BC79-6758EF925B46}"/>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46" name="Freeform 145">
                <a:extLst>
                  <a:ext uri="{FF2B5EF4-FFF2-40B4-BE49-F238E27FC236}">
                    <a16:creationId xmlns:a16="http://schemas.microsoft.com/office/drawing/2014/main" id="{45F8CAC1-AE42-EB47-9042-15F1C15F707F}"/>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47" name="Freeform 146">
                <a:extLst>
                  <a:ext uri="{FF2B5EF4-FFF2-40B4-BE49-F238E27FC236}">
                    <a16:creationId xmlns:a16="http://schemas.microsoft.com/office/drawing/2014/main" id="{9EE6DA69-4C6B-BE41-A1D7-304DADE2B549}"/>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33" name="TextBox 132">
              <a:hlinkClick r:id="rId28" action="ppaction://hlinksldjump"/>
              <a:extLst>
                <a:ext uri="{FF2B5EF4-FFF2-40B4-BE49-F238E27FC236}">
                  <a16:creationId xmlns:a16="http://schemas.microsoft.com/office/drawing/2014/main" id="{8AD64A62-E3DB-694F-A62D-D9F8F6BEC32F}"/>
                </a:ext>
              </a:extLst>
            </p:cNvPr>
            <p:cNvSpPr txBox="1"/>
            <p:nvPr/>
          </p:nvSpPr>
          <p:spPr>
            <a:xfrm>
              <a:off x="2214206" y="2633577"/>
              <a:ext cx="2215670" cy="369332"/>
            </a:xfrm>
            <a:prstGeom prst="rect">
              <a:avLst/>
            </a:prstGeom>
            <a:noFill/>
          </p:spPr>
          <p:txBody>
            <a:bodyPr wrap="none" rtlCol="0">
              <a:spAutoFit/>
            </a:bodyPr>
            <a:lstStyle/>
            <a:p>
              <a:pPr algn="ctr"/>
              <a:r>
                <a:rPr lang="fr-FR" b="1" spc="300" dirty="0">
                  <a:solidFill>
                    <a:schemeClr val="bg1"/>
                  </a:solidFill>
                  <a:latin typeface="Montserrat" pitchFamily="2" charset="77"/>
                </a:rPr>
                <a:t>CONCLUSION</a:t>
              </a:r>
              <a:endParaRPr lang="en-LT" b="1" spc="300" dirty="0">
                <a:solidFill>
                  <a:schemeClr val="bg1"/>
                </a:solidFill>
                <a:latin typeface="Montserrat" pitchFamily="2" charset="77"/>
              </a:endParaRPr>
            </a:p>
          </p:txBody>
        </p:sp>
      </p:grpSp>
      <p:grpSp>
        <p:nvGrpSpPr>
          <p:cNvPr id="148" name="Group 147">
            <a:extLst>
              <a:ext uri="{FF2B5EF4-FFF2-40B4-BE49-F238E27FC236}">
                <a16:creationId xmlns:a16="http://schemas.microsoft.com/office/drawing/2014/main" id="{542861A4-CE81-1B45-8FFB-D9C1A823AC35}"/>
              </a:ext>
            </a:extLst>
          </p:cNvPr>
          <p:cNvGrpSpPr/>
          <p:nvPr/>
        </p:nvGrpSpPr>
        <p:grpSpPr>
          <a:xfrm>
            <a:off x="8457108" y="3931887"/>
            <a:ext cx="2371162" cy="1550343"/>
            <a:chOff x="2151449" y="1452566"/>
            <a:chExt cx="2371162" cy="1550343"/>
          </a:xfrm>
        </p:grpSpPr>
        <p:grpSp>
          <p:nvGrpSpPr>
            <p:cNvPr id="149" name="Graphic 4">
              <a:extLst>
                <a:ext uri="{FF2B5EF4-FFF2-40B4-BE49-F238E27FC236}">
                  <a16:creationId xmlns:a16="http://schemas.microsoft.com/office/drawing/2014/main" id="{97B32BDD-A9EE-AC4A-8457-E9FB11925409}"/>
                </a:ext>
              </a:extLst>
            </p:cNvPr>
            <p:cNvGrpSpPr/>
            <p:nvPr/>
          </p:nvGrpSpPr>
          <p:grpSpPr>
            <a:xfrm>
              <a:off x="2791854" y="1452566"/>
              <a:ext cx="910470" cy="1143028"/>
              <a:chOff x="5651500" y="2863849"/>
              <a:chExt cx="887355" cy="1114011"/>
            </a:xfrm>
            <a:solidFill>
              <a:schemeClr val="bg1"/>
            </a:solidFill>
          </p:grpSpPr>
          <p:sp>
            <p:nvSpPr>
              <p:cNvPr id="152" name="Freeform 151">
                <a:hlinkClick r:id="rId29" action="ppaction://hlinksldjump"/>
                <a:extLst>
                  <a:ext uri="{FF2B5EF4-FFF2-40B4-BE49-F238E27FC236}">
                    <a16:creationId xmlns:a16="http://schemas.microsoft.com/office/drawing/2014/main" id="{428B57BE-DAA5-AD4B-95EC-4DB9DBE4594F}"/>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dirty="0"/>
              </a:p>
            </p:txBody>
          </p:sp>
          <p:sp>
            <p:nvSpPr>
              <p:cNvPr id="153" name="Freeform 152">
                <a:extLst>
                  <a:ext uri="{FF2B5EF4-FFF2-40B4-BE49-F238E27FC236}">
                    <a16:creationId xmlns:a16="http://schemas.microsoft.com/office/drawing/2014/main" id="{8C4C6BED-8035-644C-AEA0-82039A0A96F8}"/>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54" name="Freeform 153">
                <a:extLst>
                  <a:ext uri="{FF2B5EF4-FFF2-40B4-BE49-F238E27FC236}">
                    <a16:creationId xmlns:a16="http://schemas.microsoft.com/office/drawing/2014/main" id="{24D74A73-8658-5C41-9846-095197434B7C}"/>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55" name="Freeform 154">
                <a:extLst>
                  <a:ext uri="{FF2B5EF4-FFF2-40B4-BE49-F238E27FC236}">
                    <a16:creationId xmlns:a16="http://schemas.microsoft.com/office/drawing/2014/main" id="{25296D81-E449-0749-844D-F0F6C8105563}"/>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56" name="Freeform 155">
                <a:extLst>
                  <a:ext uri="{FF2B5EF4-FFF2-40B4-BE49-F238E27FC236}">
                    <a16:creationId xmlns:a16="http://schemas.microsoft.com/office/drawing/2014/main" id="{B0B13E42-7BC7-924E-89EA-7C17E455C298}"/>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57" name="Freeform 156">
                <a:extLst>
                  <a:ext uri="{FF2B5EF4-FFF2-40B4-BE49-F238E27FC236}">
                    <a16:creationId xmlns:a16="http://schemas.microsoft.com/office/drawing/2014/main" id="{CBCED58F-277E-D242-BD82-E0575EECCB66}"/>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58" name="Freeform 157">
                <a:extLst>
                  <a:ext uri="{FF2B5EF4-FFF2-40B4-BE49-F238E27FC236}">
                    <a16:creationId xmlns:a16="http://schemas.microsoft.com/office/drawing/2014/main" id="{2797CB9C-4F24-434E-8E6A-06B3572C76F7}"/>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59" name="Freeform 158">
                <a:extLst>
                  <a:ext uri="{FF2B5EF4-FFF2-40B4-BE49-F238E27FC236}">
                    <a16:creationId xmlns:a16="http://schemas.microsoft.com/office/drawing/2014/main" id="{B704116D-F473-EE4F-945E-CBCCAD68677A}"/>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60" name="Freeform 159">
                <a:extLst>
                  <a:ext uri="{FF2B5EF4-FFF2-40B4-BE49-F238E27FC236}">
                    <a16:creationId xmlns:a16="http://schemas.microsoft.com/office/drawing/2014/main" id="{C4CA4BED-B448-8C44-95DF-C02D67CD99F9}"/>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61" name="Freeform 160">
                <a:extLst>
                  <a:ext uri="{FF2B5EF4-FFF2-40B4-BE49-F238E27FC236}">
                    <a16:creationId xmlns:a16="http://schemas.microsoft.com/office/drawing/2014/main" id="{0C92CF32-2A08-9C4E-AE45-A19B1009138C}"/>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62" name="Freeform 161">
                <a:extLst>
                  <a:ext uri="{FF2B5EF4-FFF2-40B4-BE49-F238E27FC236}">
                    <a16:creationId xmlns:a16="http://schemas.microsoft.com/office/drawing/2014/main" id="{BB411E04-768D-834B-BFEA-795463D274DA}"/>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63" name="Freeform 162">
                <a:extLst>
                  <a:ext uri="{FF2B5EF4-FFF2-40B4-BE49-F238E27FC236}">
                    <a16:creationId xmlns:a16="http://schemas.microsoft.com/office/drawing/2014/main" id="{28CD7E37-0A64-2747-851A-28F7C665C132}"/>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64" name="Freeform 163">
                <a:extLst>
                  <a:ext uri="{FF2B5EF4-FFF2-40B4-BE49-F238E27FC236}">
                    <a16:creationId xmlns:a16="http://schemas.microsoft.com/office/drawing/2014/main" id="{50CB18A8-59CE-8B4B-BEF0-42B3C0C1FD90}"/>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50" name="TextBox 149">
              <a:hlinkClick r:id="rId29" action="ppaction://hlinksldjump"/>
              <a:extLst>
                <a:ext uri="{FF2B5EF4-FFF2-40B4-BE49-F238E27FC236}">
                  <a16:creationId xmlns:a16="http://schemas.microsoft.com/office/drawing/2014/main" id="{5C3BDC42-8F27-2B45-85BB-7AEBF711D01B}"/>
                </a:ext>
              </a:extLst>
            </p:cNvPr>
            <p:cNvSpPr txBox="1"/>
            <p:nvPr/>
          </p:nvSpPr>
          <p:spPr>
            <a:xfrm>
              <a:off x="2151449" y="2633577"/>
              <a:ext cx="2371162" cy="369332"/>
            </a:xfrm>
            <a:prstGeom prst="rect">
              <a:avLst/>
            </a:prstGeom>
            <a:noFill/>
          </p:spPr>
          <p:txBody>
            <a:bodyPr wrap="none" rtlCol="0">
              <a:spAutoFit/>
            </a:bodyPr>
            <a:lstStyle/>
            <a:p>
              <a:pPr algn="ctr"/>
              <a:r>
                <a:rPr lang="fr-FR" b="1" spc="300" dirty="0">
                  <a:solidFill>
                    <a:schemeClr val="bg1"/>
                  </a:solidFill>
                  <a:latin typeface="Montserrat" pitchFamily="2" charset="77"/>
                </a:rPr>
                <a:t>GIT &amp; DEVOPS</a:t>
              </a:r>
              <a:endParaRPr lang="en-LT" b="1" spc="300" dirty="0">
                <a:solidFill>
                  <a:schemeClr val="bg1"/>
                </a:solidFill>
                <a:latin typeface="Montserrat" pitchFamily="2" charset="77"/>
              </a:endParaRPr>
            </a:p>
          </p:txBody>
        </p:sp>
      </p:grpSp>
      <p:grpSp>
        <p:nvGrpSpPr>
          <p:cNvPr id="165" name="Graphic 43">
            <a:extLst>
              <a:ext uri="{FF2B5EF4-FFF2-40B4-BE49-F238E27FC236}">
                <a16:creationId xmlns:a16="http://schemas.microsoft.com/office/drawing/2014/main" id="{5AF1ED20-C042-CB43-996D-F4E2EB1B0AF5}"/>
              </a:ext>
            </a:extLst>
          </p:cNvPr>
          <p:cNvGrpSpPr/>
          <p:nvPr/>
        </p:nvGrpSpPr>
        <p:grpSpPr>
          <a:xfrm rot="269299" flipV="1">
            <a:off x="7472552" y="2216626"/>
            <a:ext cx="1458826" cy="482830"/>
            <a:chOff x="5270499" y="2952750"/>
            <a:chExt cx="1652160" cy="946643"/>
          </a:xfrm>
          <a:solidFill>
            <a:schemeClr val="bg1"/>
          </a:solidFill>
        </p:grpSpPr>
        <p:sp>
          <p:nvSpPr>
            <p:cNvPr id="166" name="Freeform 165">
              <a:extLst>
                <a:ext uri="{FF2B5EF4-FFF2-40B4-BE49-F238E27FC236}">
                  <a16:creationId xmlns:a16="http://schemas.microsoft.com/office/drawing/2014/main" id="{6DC12E29-3F99-444D-B25B-D1BE709E74B5}"/>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67" name="Freeform 166">
              <a:extLst>
                <a:ext uri="{FF2B5EF4-FFF2-40B4-BE49-F238E27FC236}">
                  <a16:creationId xmlns:a16="http://schemas.microsoft.com/office/drawing/2014/main" id="{02E0F5D2-1568-B54D-8E20-0E1763E93AC0}"/>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168" name="Graphic 43">
            <a:extLst>
              <a:ext uri="{FF2B5EF4-FFF2-40B4-BE49-F238E27FC236}">
                <a16:creationId xmlns:a16="http://schemas.microsoft.com/office/drawing/2014/main" id="{53541371-A904-944A-ADFD-DF2C36B1C13E}"/>
              </a:ext>
            </a:extLst>
          </p:cNvPr>
          <p:cNvGrpSpPr/>
          <p:nvPr/>
        </p:nvGrpSpPr>
        <p:grpSpPr>
          <a:xfrm rot="2571606" flipV="1">
            <a:off x="7406172" y="4110037"/>
            <a:ext cx="1356455" cy="777212"/>
            <a:chOff x="5270499" y="2952750"/>
            <a:chExt cx="1652160" cy="946643"/>
          </a:xfrm>
          <a:solidFill>
            <a:schemeClr val="bg1"/>
          </a:solidFill>
        </p:grpSpPr>
        <p:sp>
          <p:nvSpPr>
            <p:cNvPr id="169" name="Freeform 168">
              <a:extLst>
                <a:ext uri="{FF2B5EF4-FFF2-40B4-BE49-F238E27FC236}">
                  <a16:creationId xmlns:a16="http://schemas.microsoft.com/office/drawing/2014/main" id="{8586AEDF-7F5F-414F-9436-8265F51C2492}"/>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70" name="Freeform 169">
              <a:extLst>
                <a:ext uri="{FF2B5EF4-FFF2-40B4-BE49-F238E27FC236}">
                  <a16:creationId xmlns:a16="http://schemas.microsoft.com/office/drawing/2014/main" id="{687A6450-AD09-6F45-BA55-0B61B89F9ADF}"/>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171" name="Graphic 43">
            <a:extLst>
              <a:ext uri="{FF2B5EF4-FFF2-40B4-BE49-F238E27FC236}">
                <a16:creationId xmlns:a16="http://schemas.microsoft.com/office/drawing/2014/main" id="{0839B81A-3B42-DE46-98ED-DDE5EC579A19}"/>
              </a:ext>
            </a:extLst>
          </p:cNvPr>
          <p:cNvGrpSpPr/>
          <p:nvPr/>
        </p:nvGrpSpPr>
        <p:grpSpPr>
          <a:xfrm rot="417027" flipH="1" flipV="1">
            <a:off x="3858043" y="2373351"/>
            <a:ext cx="1396237" cy="528243"/>
            <a:chOff x="5270499" y="2952750"/>
            <a:chExt cx="1652160" cy="946643"/>
          </a:xfrm>
          <a:solidFill>
            <a:schemeClr val="bg1"/>
          </a:solidFill>
        </p:grpSpPr>
        <p:sp>
          <p:nvSpPr>
            <p:cNvPr id="172" name="Freeform 171">
              <a:extLst>
                <a:ext uri="{FF2B5EF4-FFF2-40B4-BE49-F238E27FC236}">
                  <a16:creationId xmlns:a16="http://schemas.microsoft.com/office/drawing/2014/main" id="{84649B46-3F17-EF48-8C48-1659A3C95EC0}"/>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73" name="Freeform 172">
              <a:extLst>
                <a:ext uri="{FF2B5EF4-FFF2-40B4-BE49-F238E27FC236}">
                  <a16:creationId xmlns:a16="http://schemas.microsoft.com/office/drawing/2014/main" id="{675B5401-63EE-4D4F-AF6B-57A017EDC483}"/>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174" name="Graphic 43">
            <a:extLst>
              <a:ext uri="{FF2B5EF4-FFF2-40B4-BE49-F238E27FC236}">
                <a16:creationId xmlns:a16="http://schemas.microsoft.com/office/drawing/2014/main" id="{C2250C8B-BBFC-E74B-8D1E-70CD422D5CF0}"/>
              </a:ext>
            </a:extLst>
          </p:cNvPr>
          <p:cNvGrpSpPr/>
          <p:nvPr/>
        </p:nvGrpSpPr>
        <p:grpSpPr>
          <a:xfrm rot="19028394" flipH="1" flipV="1">
            <a:off x="4061834" y="4110037"/>
            <a:ext cx="1356455" cy="777212"/>
            <a:chOff x="5270499" y="2952750"/>
            <a:chExt cx="1652160" cy="946643"/>
          </a:xfrm>
          <a:solidFill>
            <a:schemeClr val="bg1"/>
          </a:solidFill>
        </p:grpSpPr>
        <p:sp>
          <p:nvSpPr>
            <p:cNvPr id="175" name="Freeform 174">
              <a:extLst>
                <a:ext uri="{FF2B5EF4-FFF2-40B4-BE49-F238E27FC236}">
                  <a16:creationId xmlns:a16="http://schemas.microsoft.com/office/drawing/2014/main" id="{64401C97-C717-0C47-BF8D-2914B63A0282}"/>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76" name="Freeform 175">
              <a:extLst>
                <a:ext uri="{FF2B5EF4-FFF2-40B4-BE49-F238E27FC236}">
                  <a16:creationId xmlns:a16="http://schemas.microsoft.com/office/drawing/2014/main" id="{399C4DB2-1459-A940-9071-20138B4D1517}"/>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177" name="Graphic 176">
            <a:extLst>
              <a:ext uri="{FF2B5EF4-FFF2-40B4-BE49-F238E27FC236}">
                <a16:creationId xmlns:a16="http://schemas.microsoft.com/office/drawing/2014/main" id="{B0EF01F8-B182-6149-B8B6-CED85E0B6E5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rot="21540000">
            <a:off x="4545756" y="1104154"/>
            <a:ext cx="3743581" cy="134841"/>
          </a:xfrm>
          <a:prstGeom prst="rect">
            <a:avLst/>
          </a:prstGeom>
        </p:spPr>
      </p:pic>
      <p:grpSp>
        <p:nvGrpSpPr>
          <p:cNvPr id="178" name="Group 96">
            <a:extLst>
              <a:ext uri="{FF2B5EF4-FFF2-40B4-BE49-F238E27FC236}">
                <a16:creationId xmlns:a16="http://schemas.microsoft.com/office/drawing/2014/main" id="{C20533FF-A686-42D4-AFF1-3A2B7C3E53CC}"/>
              </a:ext>
            </a:extLst>
          </p:cNvPr>
          <p:cNvGrpSpPr/>
          <p:nvPr/>
        </p:nvGrpSpPr>
        <p:grpSpPr>
          <a:xfrm>
            <a:off x="4043490" y="5087834"/>
            <a:ext cx="2428870" cy="1669841"/>
            <a:chOff x="1846958" y="1452566"/>
            <a:chExt cx="2800259" cy="1926804"/>
          </a:xfrm>
        </p:grpSpPr>
        <p:grpSp>
          <p:nvGrpSpPr>
            <p:cNvPr id="179" name="Graphic 4">
              <a:extLst>
                <a:ext uri="{FF2B5EF4-FFF2-40B4-BE49-F238E27FC236}">
                  <a16:creationId xmlns:a16="http://schemas.microsoft.com/office/drawing/2014/main" id="{3E97FA59-252C-4819-9550-387696A39245}"/>
                </a:ext>
              </a:extLst>
            </p:cNvPr>
            <p:cNvGrpSpPr/>
            <p:nvPr/>
          </p:nvGrpSpPr>
          <p:grpSpPr>
            <a:xfrm>
              <a:off x="2791854" y="1452566"/>
              <a:ext cx="910469" cy="1143028"/>
              <a:chOff x="5651500" y="2863849"/>
              <a:chExt cx="887354" cy="1114011"/>
            </a:xfrm>
            <a:solidFill>
              <a:schemeClr val="bg1"/>
            </a:solidFill>
          </p:grpSpPr>
          <p:sp>
            <p:nvSpPr>
              <p:cNvPr id="182" name="Freeform 100">
                <a:hlinkClick r:id="rId23" action="ppaction://hlinksldjump"/>
                <a:extLst>
                  <a:ext uri="{FF2B5EF4-FFF2-40B4-BE49-F238E27FC236}">
                    <a16:creationId xmlns:a16="http://schemas.microsoft.com/office/drawing/2014/main" id="{B7E45651-03A6-4D58-9070-A4A0B0D05A86}"/>
                  </a:ext>
                </a:extLst>
              </p:cNvPr>
              <p:cNvSpPr/>
              <p:nvPr/>
            </p:nvSpPr>
            <p:spPr>
              <a:xfrm>
                <a:off x="5818376" y="3028308"/>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83" name="Freeform 101">
                <a:extLst>
                  <a:ext uri="{FF2B5EF4-FFF2-40B4-BE49-F238E27FC236}">
                    <a16:creationId xmlns:a16="http://schemas.microsoft.com/office/drawing/2014/main" id="{E96EE13D-B89D-48F5-92B0-BA0901AE1136}"/>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84" name="Freeform 102">
                <a:extLst>
                  <a:ext uri="{FF2B5EF4-FFF2-40B4-BE49-F238E27FC236}">
                    <a16:creationId xmlns:a16="http://schemas.microsoft.com/office/drawing/2014/main" id="{4951C583-ED5D-4CAB-B584-E1BBBB198FE3}"/>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85" name="Freeform 103">
                <a:extLst>
                  <a:ext uri="{FF2B5EF4-FFF2-40B4-BE49-F238E27FC236}">
                    <a16:creationId xmlns:a16="http://schemas.microsoft.com/office/drawing/2014/main" id="{BC2C1FD1-44F0-4E78-BF3E-F6A8E5E255BA}"/>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86" name="Freeform 104">
                <a:extLst>
                  <a:ext uri="{FF2B5EF4-FFF2-40B4-BE49-F238E27FC236}">
                    <a16:creationId xmlns:a16="http://schemas.microsoft.com/office/drawing/2014/main" id="{DCBA8063-38A6-4D28-9D10-CEF02B0A0B25}"/>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87" name="Freeform 105">
                <a:extLst>
                  <a:ext uri="{FF2B5EF4-FFF2-40B4-BE49-F238E27FC236}">
                    <a16:creationId xmlns:a16="http://schemas.microsoft.com/office/drawing/2014/main" id="{3FBBF7B1-106F-449B-8684-580C467E90B1}"/>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88" name="Freeform 106">
                <a:extLst>
                  <a:ext uri="{FF2B5EF4-FFF2-40B4-BE49-F238E27FC236}">
                    <a16:creationId xmlns:a16="http://schemas.microsoft.com/office/drawing/2014/main" id="{7FEA4839-F88D-4C7A-BD0D-99A65E1153D9}"/>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89" name="Freeform 107">
                <a:extLst>
                  <a:ext uri="{FF2B5EF4-FFF2-40B4-BE49-F238E27FC236}">
                    <a16:creationId xmlns:a16="http://schemas.microsoft.com/office/drawing/2014/main" id="{CD06C6B3-84AF-462A-974F-8061B99D076E}"/>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90" name="Freeform 108">
                <a:extLst>
                  <a:ext uri="{FF2B5EF4-FFF2-40B4-BE49-F238E27FC236}">
                    <a16:creationId xmlns:a16="http://schemas.microsoft.com/office/drawing/2014/main" id="{044C8AA8-9AEA-4758-9872-6D97EB22651E}"/>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91" name="Freeform 109">
                <a:extLst>
                  <a:ext uri="{FF2B5EF4-FFF2-40B4-BE49-F238E27FC236}">
                    <a16:creationId xmlns:a16="http://schemas.microsoft.com/office/drawing/2014/main" id="{F0226BE1-51AA-4B89-B176-807F366B6A7B}"/>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92" name="Freeform 110">
                <a:extLst>
                  <a:ext uri="{FF2B5EF4-FFF2-40B4-BE49-F238E27FC236}">
                    <a16:creationId xmlns:a16="http://schemas.microsoft.com/office/drawing/2014/main" id="{FE3C4FC4-2247-4EE6-A587-633149D161C5}"/>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93" name="Freeform 111">
                <a:extLst>
                  <a:ext uri="{FF2B5EF4-FFF2-40B4-BE49-F238E27FC236}">
                    <a16:creationId xmlns:a16="http://schemas.microsoft.com/office/drawing/2014/main" id="{28C792BD-F655-49D9-A66D-182428EEC53B}"/>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94" name="Freeform 112">
                <a:extLst>
                  <a:ext uri="{FF2B5EF4-FFF2-40B4-BE49-F238E27FC236}">
                    <a16:creationId xmlns:a16="http://schemas.microsoft.com/office/drawing/2014/main" id="{55050704-DE43-429F-B05C-A83FEA521DFD}"/>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80" name="TextBox 98">
              <a:hlinkClick r:id="rId23" action="ppaction://hlinksldjump"/>
              <a:extLst>
                <a:ext uri="{FF2B5EF4-FFF2-40B4-BE49-F238E27FC236}">
                  <a16:creationId xmlns:a16="http://schemas.microsoft.com/office/drawing/2014/main" id="{F561EA74-1584-4F9C-9616-6FAD3E2D62C3}"/>
                </a:ext>
              </a:extLst>
            </p:cNvPr>
            <p:cNvSpPr txBox="1"/>
            <p:nvPr/>
          </p:nvSpPr>
          <p:spPr>
            <a:xfrm>
              <a:off x="1846958" y="2633578"/>
              <a:ext cx="2800259" cy="745792"/>
            </a:xfrm>
            <a:prstGeom prst="rect">
              <a:avLst/>
            </a:prstGeom>
            <a:noFill/>
          </p:spPr>
          <p:txBody>
            <a:bodyPr wrap="none" rtlCol="0">
              <a:spAutoFit/>
            </a:bodyPr>
            <a:lstStyle/>
            <a:p>
              <a:pPr algn="ctr"/>
              <a:r>
                <a:rPr lang="fr-FR" b="1" spc="300" dirty="0">
                  <a:solidFill>
                    <a:schemeClr val="bg1"/>
                  </a:solidFill>
                  <a:latin typeface="Montserrat" pitchFamily="2" charset="77"/>
                </a:rPr>
                <a:t>INSTALLATION</a:t>
              </a:r>
            </a:p>
            <a:p>
              <a:pPr algn="ctr"/>
              <a:r>
                <a:rPr lang="fr-FR" b="1" spc="300" dirty="0">
                  <a:solidFill>
                    <a:schemeClr val="bg1"/>
                  </a:solidFill>
                  <a:latin typeface="Montserrat" pitchFamily="2" charset="77"/>
                </a:rPr>
                <a:t> DE GIT </a:t>
              </a:r>
              <a:endParaRPr lang="en-LT" b="1" spc="300" dirty="0">
                <a:solidFill>
                  <a:schemeClr val="bg1"/>
                </a:solidFill>
                <a:latin typeface="Montserrat" pitchFamily="2" charset="77"/>
              </a:endParaRPr>
            </a:p>
          </p:txBody>
        </p:sp>
      </p:grpSp>
      <p:grpSp>
        <p:nvGrpSpPr>
          <p:cNvPr id="195" name="Group 96">
            <a:extLst>
              <a:ext uri="{FF2B5EF4-FFF2-40B4-BE49-F238E27FC236}">
                <a16:creationId xmlns:a16="http://schemas.microsoft.com/office/drawing/2014/main" id="{EA3E2D6C-0B3E-409B-9ED7-A8B6F6046298}"/>
              </a:ext>
            </a:extLst>
          </p:cNvPr>
          <p:cNvGrpSpPr/>
          <p:nvPr/>
        </p:nvGrpSpPr>
        <p:grpSpPr>
          <a:xfrm>
            <a:off x="2083935" y="1604966"/>
            <a:ext cx="2597185" cy="1670125"/>
            <a:chOff x="1901524" y="1452566"/>
            <a:chExt cx="2597185" cy="1670125"/>
          </a:xfrm>
        </p:grpSpPr>
        <p:grpSp>
          <p:nvGrpSpPr>
            <p:cNvPr id="196" name="Graphic 4">
              <a:extLst>
                <a:ext uri="{FF2B5EF4-FFF2-40B4-BE49-F238E27FC236}">
                  <a16:creationId xmlns:a16="http://schemas.microsoft.com/office/drawing/2014/main" id="{551D7807-1991-4FBA-9019-EA1C4339DD00}"/>
                </a:ext>
              </a:extLst>
            </p:cNvPr>
            <p:cNvGrpSpPr/>
            <p:nvPr/>
          </p:nvGrpSpPr>
          <p:grpSpPr>
            <a:xfrm>
              <a:off x="2791854" y="1452566"/>
              <a:ext cx="910469" cy="1143028"/>
              <a:chOff x="5651500" y="2863849"/>
              <a:chExt cx="887354" cy="1114011"/>
            </a:xfrm>
            <a:solidFill>
              <a:schemeClr val="bg1"/>
            </a:solidFill>
          </p:grpSpPr>
          <p:sp>
            <p:nvSpPr>
              <p:cNvPr id="199" name="Freeform 100">
                <a:hlinkClick r:id="rId17" action="ppaction://hlinksldjump"/>
                <a:extLst>
                  <a:ext uri="{FF2B5EF4-FFF2-40B4-BE49-F238E27FC236}">
                    <a16:creationId xmlns:a16="http://schemas.microsoft.com/office/drawing/2014/main" id="{15F84791-8B23-4D05-B7BD-85777175E24C}"/>
                  </a:ext>
                </a:extLst>
              </p:cNvPr>
              <p:cNvSpPr/>
              <p:nvPr/>
            </p:nvSpPr>
            <p:spPr>
              <a:xfrm>
                <a:off x="5818376" y="3028308"/>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200" name="Freeform 101">
                <a:extLst>
                  <a:ext uri="{FF2B5EF4-FFF2-40B4-BE49-F238E27FC236}">
                    <a16:creationId xmlns:a16="http://schemas.microsoft.com/office/drawing/2014/main" id="{AD182551-9262-4ADA-A624-49D9AA560879}"/>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201" name="Freeform 102">
                <a:extLst>
                  <a:ext uri="{FF2B5EF4-FFF2-40B4-BE49-F238E27FC236}">
                    <a16:creationId xmlns:a16="http://schemas.microsoft.com/office/drawing/2014/main" id="{7E43A209-2E45-4A51-906E-BDDA6D809DB4}"/>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202" name="Freeform 103">
                <a:extLst>
                  <a:ext uri="{FF2B5EF4-FFF2-40B4-BE49-F238E27FC236}">
                    <a16:creationId xmlns:a16="http://schemas.microsoft.com/office/drawing/2014/main" id="{48906150-C2B2-46F9-A419-3F15335DFB92}"/>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203" name="Freeform 104">
                <a:extLst>
                  <a:ext uri="{FF2B5EF4-FFF2-40B4-BE49-F238E27FC236}">
                    <a16:creationId xmlns:a16="http://schemas.microsoft.com/office/drawing/2014/main" id="{67AFBD48-3DB8-40F9-AEF8-61077A83E44D}"/>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204" name="Freeform 105">
                <a:extLst>
                  <a:ext uri="{FF2B5EF4-FFF2-40B4-BE49-F238E27FC236}">
                    <a16:creationId xmlns:a16="http://schemas.microsoft.com/office/drawing/2014/main" id="{3116073F-97AB-4031-A36C-E92D57C200DB}"/>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205" name="Freeform 106">
                <a:extLst>
                  <a:ext uri="{FF2B5EF4-FFF2-40B4-BE49-F238E27FC236}">
                    <a16:creationId xmlns:a16="http://schemas.microsoft.com/office/drawing/2014/main" id="{80F071D5-B2C6-450D-A265-35F857130A47}"/>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206" name="Freeform 107">
                <a:extLst>
                  <a:ext uri="{FF2B5EF4-FFF2-40B4-BE49-F238E27FC236}">
                    <a16:creationId xmlns:a16="http://schemas.microsoft.com/office/drawing/2014/main" id="{85563AD5-2FC5-4072-8778-EDFFBC1BA3B3}"/>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207" name="Freeform 108">
                <a:extLst>
                  <a:ext uri="{FF2B5EF4-FFF2-40B4-BE49-F238E27FC236}">
                    <a16:creationId xmlns:a16="http://schemas.microsoft.com/office/drawing/2014/main" id="{26D06F5C-BB89-4D6F-8259-3E54D5957BF1}"/>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208" name="Freeform 109">
                <a:extLst>
                  <a:ext uri="{FF2B5EF4-FFF2-40B4-BE49-F238E27FC236}">
                    <a16:creationId xmlns:a16="http://schemas.microsoft.com/office/drawing/2014/main" id="{7C87561A-1D48-4497-8B7F-C9B510098C3D}"/>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209" name="Freeform 110">
                <a:extLst>
                  <a:ext uri="{FF2B5EF4-FFF2-40B4-BE49-F238E27FC236}">
                    <a16:creationId xmlns:a16="http://schemas.microsoft.com/office/drawing/2014/main" id="{DF7CC13D-2093-4E44-92CA-184F3A4E3FCF}"/>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210" name="Freeform 111">
                <a:extLst>
                  <a:ext uri="{FF2B5EF4-FFF2-40B4-BE49-F238E27FC236}">
                    <a16:creationId xmlns:a16="http://schemas.microsoft.com/office/drawing/2014/main" id="{C59C8F1E-5E24-46CD-972F-5F14A3282891}"/>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211" name="Freeform 112">
                <a:extLst>
                  <a:ext uri="{FF2B5EF4-FFF2-40B4-BE49-F238E27FC236}">
                    <a16:creationId xmlns:a16="http://schemas.microsoft.com/office/drawing/2014/main" id="{FF9D0895-5424-438F-8F7F-85C539875DF4}"/>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97" name="TextBox 98">
              <a:hlinkClick r:id="rId17" action="ppaction://hlinksldjump"/>
              <a:extLst>
                <a:ext uri="{FF2B5EF4-FFF2-40B4-BE49-F238E27FC236}">
                  <a16:creationId xmlns:a16="http://schemas.microsoft.com/office/drawing/2014/main" id="{3AAAA470-E0C8-4B5B-B085-A75C1829850F}"/>
                </a:ext>
              </a:extLst>
            </p:cNvPr>
            <p:cNvSpPr txBox="1"/>
            <p:nvPr/>
          </p:nvSpPr>
          <p:spPr>
            <a:xfrm>
              <a:off x="1901524" y="2784137"/>
              <a:ext cx="2597185" cy="338554"/>
            </a:xfrm>
            <a:prstGeom prst="rect">
              <a:avLst/>
            </a:prstGeom>
            <a:noFill/>
          </p:spPr>
          <p:txBody>
            <a:bodyPr wrap="none" rtlCol="0">
              <a:spAutoFit/>
            </a:bodyPr>
            <a:lstStyle/>
            <a:p>
              <a:pPr algn="ctr"/>
              <a:r>
                <a:rPr lang="fr-FR" sz="1600" b="1" spc="300" dirty="0">
                  <a:solidFill>
                    <a:schemeClr val="bg1"/>
                  </a:solidFill>
                  <a:latin typeface="Montserrat" pitchFamily="2" charset="77"/>
                </a:rPr>
                <a:t>PROBLÉMATIQUE</a:t>
              </a:r>
              <a:endParaRPr lang="en-LT" sz="1600" b="1" spc="300" dirty="0">
                <a:solidFill>
                  <a:schemeClr val="bg1"/>
                </a:solidFill>
                <a:latin typeface="Montserrat" pitchFamily="2" charset="77"/>
              </a:endParaRPr>
            </a:p>
          </p:txBody>
        </p:sp>
      </p:grpSp>
      <p:grpSp>
        <p:nvGrpSpPr>
          <p:cNvPr id="212" name="Group 96">
            <a:extLst>
              <a:ext uri="{FF2B5EF4-FFF2-40B4-BE49-F238E27FC236}">
                <a16:creationId xmlns:a16="http://schemas.microsoft.com/office/drawing/2014/main" id="{CB7E1350-2930-4D22-B5D5-7FFB48364119}"/>
              </a:ext>
            </a:extLst>
          </p:cNvPr>
          <p:cNvGrpSpPr/>
          <p:nvPr/>
        </p:nvGrpSpPr>
        <p:grpSpPr>
          <a:xfrm>
            <a:off x="6757302" y="5048003"/>
            <a:ext cx="2194832" cy="1669840"/>
            <a:chOff x="1981871" y="1452566"/>
            <a:chExt cx="2530436" cy="1926804"/>
          </a:xfrm>
        </p:grpSpPr>
        <p:grpSp>
          <p:nvGrpSpPr>
            <p:cNvPr id="213" name="Graphic 4">
              <a:extLst>
                <a:ext uri="{FF2B5EF4-FFF2-40B4-BE49-F238E27FC236}">
                  <a16:creationId xmlns:a16="http://schemas.microsoft.com/office/drawing/2014/main" id="{A1B626CD-1088-4B81-BE84-16E441BA9D3F}"/>
                </a:ext>
              </a:extLst>
            </p:cNvPr>
            <p:cNvGrpSpPr/>
            <p:nvPr/>
          </p:nvGrpSpPr>
          <p:grpSpPr>
            <a:xfrm>
              <a:off x="2791854" y="1452566"/>
              <a:ext cx="910469" cy="1143028"/>
              <a:chOff x="5651500" y="2863849"/>
              <a:chExt cx="887354" cy="1114011"/>
            </a:xfrm>
            <a:solidFill>
              <a:schemeClr val="bg1"/>
            </a:solidFill>
          </p:grpSpPr>
          <p:sp>
            <p:nvSpPr>
              <p:cNvPr id="216" name="Freeform 100">
                <a:hlinkClick r:id="rId10" action="ppaction://hlinksldjump"/>
                <a:extLst>
                  <a:ext uri="{FF2B5EF4-FFF2-40B4-BE49-F238E27FC236}">
                    <a16:creationId xmlns:a16="http://schemas.microsoft.com/office/drawing/2014/main" id="{2D169FAB-8EE9-4AF5-A040-E1A2D3435322}"/>
                  </a:ext>
                </a:extLst>
              </p:cNvPr>
              <p:cNvSpPr/>
              <p:nvPr/>
            </p:nvSpPr>
            <p:spPr>
              <a:xfrm>
                <a:off x="5818376" y="3028308"/>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217" name="Freeform 101">
                <a:extLst>
                  <a:ext uri="{FF2B5EF4-FFF2-40B4-BE49-F238E27FC236}">
                    <a16:creationId xmlns:a16="http://schemas.microsoft.com/office/drawing/2014/main" id="{7C16A71C-4383-47CA-A6EC-8AB12ED806E4}"/>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218" name="Freeform 102">
                <a:extLst>
                  <a:ext uri="{FF2B5EF4-FFF2-40B4-BE49-F238E27FC236}">
                    <a16:creationId xmlns:a16="http://schemas.microsoft.com/office/drawing/2014/main" id="{AACCFF98-0B19-48EC-B877-1A62FAC33DAA}"/>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219" name="Freeform 103">
                <a:extLst>
                  <a:ext uri="{FF2B5EF4-FFF2-40B4-BE49-F238E27FC236}">
                    <a16:creationId xmlns:a16="http://schemas.microsoft.com/office/drawing/2014/main" id="{6F75E65B-ED0F-4391-BCBB-A9BE66398767}"/>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220" name="Freeform 104">
                <a:extLst>
                  <a:ext uri="{FF2B5EF4-FFF2-40B4-BE49-F238E27FC236}">
                    <a16:creationId xmlns:a16="http://schemas.microsoft.com/office/drawing/2014/main" id="{29295898-D625-4C9E-952F-DC5D46DFDE2D}"/>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221" name="Freeform 105">
                <a:extLst>
                  <a:ext uri="{FF2B5EF4-FFF2-40B4-BE49-F238E27FC236}">
                    <a16:creationId xmlns:a16="http://schemas.microsoft.com/office/drawing/2014/main" id="{77948530-41D2-49E1-859C-B5984A664285}"/>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222" name="Freeform 106">
                <a:extLst>
                  <a:ext uri="{FF2B5EF4-FFF2-40B4-BE49-F238E27FC236}">
                    <a16:creationId xmlns:a16="http://schemas.microsoft.com/office/drawing/2014/main" id="{D169C605-4D34-4423-9103-E53DF040A462}"/>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223" name="Freeform 107">
                <a:extLst>
                  <a:ext uri="{FF2B5EF4-FFF2-40B4-BE49-F238E27FC236}">
                    <a16:creationId xmlns:a16="http://schemas.microsoft.com/office/drawing/2014/main" id="{CA9985EC-64B5-4E76-A9D9-17763A5DE95A}"/>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224" name="Freeform 108">
                <a:extLst>
                  <a:ext uri="{FF2B5EF4-FFF2-40B4-BE49-F238E27FC236}">
                    <a16:creationId xmlns:a16="http://schemas.microsoft.com/office/drawing/2014/main" id="{4C5D67DB-2D41-4A60-98A4-E32430A92F6E}"/>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225" name="Freeform 109">
                <a:extLst>
                  <a:ext uri="{FF2B5EF4-FFF2-40B4-BE49-F238E27FC236}">
                    <a16:creationId xmlns:a16="http://schemas.microsoft.com/office/drawing/2014/main" id="{AECAB5F6-83FE-4D6C-B5C6-EA46C931A90D}"/>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226" name="Freeform 110">
                <a:extLst>
                  <a:ext uri="{FF2B5EF4-FFF2-40B4-BE49-F238E27FC236}">
                    <a16:creationId xmlns:a16="http://schemas.microsoft.com/office/drawing/2014/main" id="{264C0A17-D0C3-4C88-B3BD-791832A7CC6F}"/>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227" name="Freeform 111">
                <a:extLst>
                  <a:ext uri="{FF2B5EF4-FFF2-40B4-BE49-F238E27FC236}">
                    <a16:creationId xmlns:a16="http://schemas.microsoft.com/office/drawing/2014/main" id="{5341F6BD-697B-429B-9E76-16D6C1D77792}"/>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228" name="Freeform 112">
                <a:extLst>
                  <a:ext uri="{FF2B5EF4-FFF2-40B4-BE49-F238E27FC236}">
                    <a16:creationId xmlns:a16="http://schemas.microsoft.com/office/drawing/2014/main" id="{E87A955A-14E6-4E45-8008-0E3911DEC6BE}"/>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214" name="TextBox 98">
              <a:hlinkClick r:id="rId10" action="ppaction://hlinksldjump"/>
              <a:extLst>
                <a:ext uri="{FF2B5EF4-FFF2-40B4-BE49-F238E27FC236}">
                  <a16:creationId xmlns:a16="http://schemas.microsoft.com/office/drawing/2014/main" id="{87487157-753E-4302-97A4-94807D41438A}"/>
                </a:ext>
              </a:extLst>
            </p:cNvPr>
            <p:cNvSpPr txBox="1"/>
            <p:nvPr/>
          </p:nvSpPr>
          <p:spPr>
            <a:xfrm>
              <a:off x="1981871" y="2633578"/>
              <a:ext cx="2530436" cy="745792"/>
            </a:xfrm>
            <a:prstGeom prst="rect">
              <a:avLst/>
            </a:prstGeom>
            <a:noFill/>
          </p:spPr>
          <p:txBody>
            <a:bodyPr wrap="none" rtlCol="0">
              <a:spAutoFit/>
            </a:bodyPr>
            <a:lstStyle/>
            <a:p>
              <a:pPr algn="ctr"/>
              <a:r>
                <a:rPr lang="fr-FR" b="1" spc="300" dirty="0">
                  <a:solidFill>
                    <a:schemeClr val="bg1"/>
                  </a:solidFill>
                  <a:latin typeface="Montserrat" pitchFamily="2" charset="77"/>
                </a:rPr>
                <a:t>GIT </a:t>
              </a:r>
            </a:p>
            <a:p>
              <a:pPr algn="ctr"/>
              <a:r>
                <a:rPr lang="fr-FR" b="1" spc="300" dirty="0">
                  <a:solidFill>
                    <a:schemeClr val="bg1"/>
                  </a:solidFill>
                  <a:latin typeface="Montserrat" pitchFamily="2" charset="77"/>
                </a:rPr>
                <a:t>COMMANDES</a:t>
              </a:r>
            </a:p>
          </p:txBody>
        </p:sp>
      </p:grpSp>
      <p:grpSp>
        <p:nvGrpSpPr>
          <p:cNvPr id="229" name="Graphic 43">
            <a:extLst>
              <a:ext uri="{FF2B5EF4-FFF2-40B4-BE49-F238E27FC236}">
                <a16:creationId xmlns:a16="http://schemas.microsoft.com/office/drawing/2014/main" id="{3AC1A100-17DC-4F31-B427-FCF4CAEF88E0}"/>
              </a:ext>
            </a:extLst>
          </p:cNvPr>
          <p:cNvGrpSpPr/>
          <p:nvPr/>
        </p:nvGrpSpPr>
        <p:grpSpPr>
          <a:xfrm rot="725972" flipH="1">
            <a:off x="5611464" y="5609154"/>
            <a:ext cx="534130" cy="488467"/>
            <a:chOff x="5270496" y="2952751"/>
            <a:chExt cx="1652164" cy="946642"/>
          </a:xfrm>
          <a:solidFill>
            <a:schemeClr val="bg1"/>
          </a:solidFill>
        </p:grpSpPr>
        <p:sp>
          <p:nvSpPr>
            <p:cNvPr id="230" name="Freeform 174">
              <a:extLst>
                <a:ext uri="{FF2B5EF4-FFF2-40B4-BE49-F238E27FC236}">
                  <a16:creationId xmlns:a16="http://schemas.microsoft.com/office/drawing/2014/main" id="{69117665-B99D-4B5D-B407-C4C7EC4A4A42}"/>
                </a:ext>
              </a:extLst>
            </p:cNvPr>
            <p:cNvSpPr/>
            <p:nvPr/>
          </p:nvSpPr>
          <p:spPr>
            <a:xfrm>
              <a:off x="5270496" y="2952751"/>
              <a:ext cx="1519201" cy="772909"/>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dirty="0"/>
            </a:p>
          </p:txBody>
        </p:sp>
        <p:sp>
          <p:nvSpPr>
            <p:cNvPr id="231" name="Freeform 175">
              <a:extLst>
                <a:ext uri="{FF2B5EF4-FFF2-40B4-BE49-F238E27FC236}">
                  <a16:creationId xmlns:a16="http://schemas.microsoft.com/office/drawing/2014/main" id="{1B602F4C-9B66-42F9-A584-03C7581DF028}"/>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sp>
        <p:nvSpPr>
          <p:cNvPr id="234" name="Freeform 175">
            <a:extLst>
              <a:ext uri="{FF2B5EF4-FFF2-40B4-BE49-F238E27FC236}">
                <a16:creationId xmlns:a16="http://schemas.microsoft.com/office/drawing/2014/main" id="{A77337B6-FF78-4A12-8F71-84A39DC44CE9}"/>
              </a:ext>
            </a:extLst>
          </p:cNvPr>
          <p:cNvSpPr/>
          <p:nvPr/>
        </p:nvSpPr>
        <p:spPr>
          <a:xfrm rot="13270757" flipH="1">
            <a:off x="7457960" y="5246157"/>
            <a:ext cx="90684" cy="16763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solidFill>
            <a:schemeClr val="bg1"/>
          </a:solidFill>
          <a:ln w="1264" cap="flat">
            <a:noFill/>
            <a:prstDash val="solid"/>
            <a:miter/>
          </a:ln>
        </p:spPr>
        <p:txBody>
          <a:bodyPr rtlCol="0" anchor="ctr"/>
          <a:lstStyle/>
          <a:p>
            <a:endParaRPr lang="en-LT"/>
          </a:p>
        </p:txBody>
      </p:sp>
      <p:grpSp>
        <p:nvGrpSpPr>
          <p:cNvPr id="238" name="Graphic 43">
            <a:extLst>
              <a:ext uri="{FF2B5EF4-FFF2-40B4-BE49-F238E27FC236}">
                <a16:creationId xmlns:a16="http://schemas.microsoft.com/office/drawing/2014/main" id="{00832B1B-3580-46A8-B2DD-71C5D53AAE4E}"/>
              </a:ext>
            </a:extLst>
          </p:cNvPr>
          <p:cNvGrpSpPr/>
          <p:nvPr/>
        </p:nvGrpSpPr>
        <p:grpSpPr>
          <a:xfrm rot="14057993" flipH="1">
            <a:off x="6815753" y="5433999"/>
            <a:ext cx="534128" cy="488468"/>
            <a:chOff x="5270499" y="2952750"/>
            <a:chExt cx="1652160" cy="946643"/>
          </a:xfrm>
          <a:solidFill>
            <a:schemeClr val="bg1"/>
          </a:solidFill>
        </p:grpSpPr>
        <p:sp>
          <p:nvSpPr>
            <p:cNvPr id="239" name="Freeform 174">
              <a:extLst>
                <a:ext uri="{FF2B5EF4-FFF2-40B4-BE49-F238E27FC236}">
                  <a16:creationId xmlns:a16="http://schemas.microsoft.com/office/drawing/2014/main" id="{40BCA239-7369-47E7-97BB-A86C2D1559C4}"/>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240" name="Freeform 175">
              <a:extLst>
                <a:ext uri="{FF2B5EF4-FFF2-40B4-BE49-F238E27FC236}">
                  <a16:creationId xmlns:a16="http://schemas.microsoft.com/office/drawing/2014/main" id="{03230FCE-238C-41DE-BEB0-A4D9EFFA754A}"/>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spTree>
    <p:extLst>
      <p:ext uri="{BB962C8B-B14F-4D97-AF65-F5344CB8AC3E}">
        <p14:creationId xmlns:p14="http://schemas.microsoft.com/office/powerpoint/2010/main" val="100089159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163516" y="2938976"/>
            <a:ext cx="4385995" cy="1323439"/>
          </a:xfrm>
          <a:prstGeom prst="rect">
            <a:avLst/>
          </a:prstGeom>
          <a:noFill/>
        </p:spPr>
        <p:txBody>
          <a:bodyPr wrap="square" rtlCol="0">
            <a:spAutoFit/>
          </a:bodyPr>
          <a:lstStyle/>
          <a:p>
            <a:r>
              <a:rPr lang="fr-FR" sz="2000" dirty="0">
                <a:solidFill>
                  <a:schemeClr val="bg1"/>
                </a:solidFill>
              </a:rPr>
              <a:t>Pour fusionner toutes les modifications présentes sur le dépôt distant dans le répertoire de travail local, la commande pull est utilisée</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4278" y="717553"/>
            <a:ext cx="782414" cy="894188"/>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898069" y="5232705"/>
            <a:ext cx="4372474"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merge</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3955169"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MERGE</a:t>
            </a:r>
            <a:endParaRPr lang="en-LT" sz="44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22076866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sp>
        <p:nvSpPr>
          <p:cNvPr id="1840" name="Rectangle 1839">
            <a:extLst>
              <a:ext uri="{FF2B5EF4-FFF2-40B4-BE49-F238E27FC236}">
                <a16:creationId xmlns:a16="http://schemas.microsoft.com/office/drawing/2014/main" id="{A3473900-6263-470C-9094-5878F8D53D07}"/>
              </a:ext>
            </a:extLst>
          </p:cNvPr>
          <p:cNvSpPr/>
          <p:nvPr/>
        </p:nvSpPr>
        <p:spPr>
          <a:xfrm>
            <a:off x="3876238" y="2715292"/>
            <a:ext cx="4935603" cy="1770808"/>
          </a:xfrm>
          <a:prstGeom prst="rect">
            <a:avLst/>
          </a:prstGeom>
          <a:solidFill>
            <a:srgbClr val="0698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841" name="TextBox 1840">
            <a:extLst>
              <a:ext uri="{FF2B5EF4-FFF2-40B4-BE49-F238E27FC236}">
                <a16:creationId xmlns:a16="http://schemas.microsoft.com/office/drawing/2014/main" id="{F921338C-932A-4930-A9ED-01C5ADCA05FC}"/>
              </a:ext>
            </a:extLst>
          </p:cNvPr>
          <p:cNvSpPr txBox="1"/>
          <p:nvPr/>
        </p:nvSpPr>
        <p:spPr>
          <a:xfrm>
            <a:off x="4163516" y="2938976"/>
            <a:ext cx="4385995" cy="1015663"/>
          </a:xfrm>
          <a:prstGeom prst="rect">
            <a:avLst/>
          </a:prstGeom>
          <a:noFill/>
        </p:spPr>
        <p:txBody>
          <a:bodyPr wrap="square" rtlCol="0">
            <a:spAutoFit/>
          </a:bodyPr>
          <a:lstStyle/>
          <a:p>
            <a:r>
              <a:rPr lang="fr-FR" sz="2000" dirty="0">
                <a:solidFill>
                  <a:schemeClr val="bg1"/>
                </a:solidFill>
              </a:rPr>
              <a:t>Le marquage est utilisé pour marquer des </a:t>
            </a:r>
            <a:r>
              <a:rPr lang="fr-FR" sz="2000" dirty="0" err="1">
                <a:solidFill>
                  <a:schemeClr val="bg1"/>
                </a:solidFill>
              </a:rPr>
              <a:t>commits</a:t>
            </a:r>
            <a:r>
              <a:rPr lang="fr-FR" sz="2000" dirty="0">
                <a:solidFill>
                  <a:schemeClr val="bg1"/>
                </a:solidFill>
              </a:rPr>
              <a:t> spécifiques avec des poignées simples.</a:t>
            </a:r>
          </a:p>
        </p:txBody>
      </p:sp>
      <p:sp>
        <p:nvSpPr>
          <p:cNvPr id="16" name="Oval 15">
            <a:extLst>
              <a:ext uri="{FF2B5EF4-FFF2-40B4-BE49-F238E27FC236}">
                <a16:creationId xmlns:a16="http://schemas.microsoft.com/office/drawing/2014/main" id="{C9AAD47D-15D1-4A82-AE43-74C0641D0D3B}"/>
              </a:ext>
            </a:extLst>
          </p:cNvPr>
          <p:cNvSpPr/>
          <p:nvPr/>
        </p:nvSpPr>
        <p:spPr>
          <a:xfrm>
            <a:off x="461008" y="122173"/>
            <a:ext cx="2084948" cy="208494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dirty="0"/>
          </a:p>
        </p:txBody>
      </p:sp>
      <p:pic>
        <p:nvPicPr>
          <p:cNvPr id="8" name="Graphique 7">
            <a:hlinkClick r:id="rId2" action="ppaction://hlinksldjump"/>
            <a:extLst>
              <a:ext uri="{FF2B5EF4-FFF2-40B4-BE49-F238E27FC236}">
                <a16:creationId xmlns:a16="http://schemas.microsoft.com/office/drawing/2014/main" id="{CC1DAC3B-3DED-418F-9065-B9A1DD985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4278" y="717553"/>
            <a:ext cx="782414" cy="894187"/>
          </a:xfrm>
          <a:prstGeom prst="rect">
            <a:avLst/>
          </a:prstGeom>
        </p:spPr>
      </p:pic>
      <p:sp>
        <p:nvSpPr>
          <p:cNvPr id="21" name="Rounded Rectangle 76">
            <a:extLst>
              <a:ext uri="{FF2B5EF4-FFF2-40B4-BE49-F238E27FC236}">
                <a16:creationId xmlns:a16="http://schemas.microsoft.com/office/drawing/2014/main" id="{FC0D6DD3-BE7E-4DA1-8462-0DCC59DC0B65}"/>
              </a:ext>
            </a:extLst>
          </p:cNvPr>
          <p:cNvSpPr/>
          <p:nvPr/>
        </p:nvSpPr>
        <p:spPr>
          <a:xfrm>
            <a:off x="3521850" y="5067714"/>
            <a:ext cx="5669329" cy="671724"/>
          </a:xfrm>
          <a:prstGeom prst="roundRect">
            <a:avLst>
              <a:gd name="adj" fmla="val 50000"/>
            </a:avLst>
          </a:prstGeom>
          <a:solidFill>
            <a:srgbClr val="FFFFFF"/>
          </a:solidFill>
          <a:ln>
            <a:gradFill>
              <a:gsLst>
                <a:gs pos="0">
                  <a:srgbClr val="06987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98">
            <a:extLst>
              <a:ext uri="{FF2B5EF4-FFF2-40B4-BE49-F238E27FC236}">
                <a16:creationId xmlns:a16="http://schemas.microsoft.com/office/drawing/2014/main" id="{22D3D118-ABE4-47B3-BCFE-813E58919116}"/>
              </a:ext>
            </a:extLst>
          </p:cNvPr>
          <p:cNvSpPr txBox="1"/>
          <p:nvPr/>
        </p:nvSpPr>
        <p:spPr>
          <a:xfrm>
            <a:off x="3898069" y="5232705"/>
            <a:ext cx="4372474" cy="369332"/>
          </a:xfrm>
          <a:prstGeom prst="rect">
            <a:avLst/>
          </a:prstGeom>
          <a:noFill/>
        </p:spPr>
        <p:txBody>
          <a:bodyPr wrap="square" lIns="0" tIns="0" rIns="0" bIns="0" rtlCol="0">
            <a:spAutoFit/>
          </a:bodyPr>
          <a:lstStyle/>
          <a:p>
            <a:r>
              <a:rPr lang="en-US" sz="2400" dirty="0">
                <a:solidFill>
                  <a:schemeClr val="bg2">
                    <a:lumMod val="50000"/>
                  </a:schemeClr>
                </a:solidFill>
                <a:latin typeface="Segoe UI" panose="020B0502040204020203" pitchFamily="34" charset="0"/>
                <a:cs typeface="Segoe UI" panose="020B0502040204020203" pitchFamily="34" charset="0"/>
              </a:rPr>
              <a:t>git tag v&lt;</a:t>
            </a:r>
            <a:r>
              <a:rPr lang="en-US" sz="2400" dirty="0" err="1">
                <a:solidFill>
                  <a:schemeClr val="bg2">
                    <a:lumMod val="50000"/>
                  </a:schemeClr>
                </a:solidFill>
                <a:latin typeface="Segoe UI" panose="020B0502040204020203" pitchFamily="34" charset="0"/>
                <a:cs typeface="Segoe UI" panose="020B0502040204020203" pitchFamily="34" charset="0"/>
              </a:rPr>
              <a:t>nombre</a:t>
            </a:r>
            <a:r>
              <a:rPr lang="en-US" sz="2400" dirty="0">
                <a:solidFill>
                  <a:schemeClr val="bg2">
                    <a:lumMod val="50000"/>
                  </a:schemeClr>
                </a:solidFill>
                <a:latin typeface="Segoe UI" panose="020B0502040204020203" pitchFamily="34" charset="0"/>
                <a:cs typeface="Segoe UI" panose="020B0502040204020203" pitchFamily="34" charset="0"/>
              </a:rPr>
              <a:t>-version&gt;</a:t>
            </a:r>
          </a:p>
        </p:txBody>
      </p:sp>
      <p:sp>
        <p:nvSpPr>
          <p:cNvPr id="25" name="TextBox 54">
            <a:hlinkClick r:id="rId2" action="ppaction://hlinksldjump"/>
            <a:extLst>
              <a:ext uri="{FF2B5EF4-FFF2-40B4-BE49-F238E27FC236}">
                <a16:creationId xmlns:a16="http://schemas.microsoft.com/office/drawing/2014/main" id="{ACB6E843-F372-48D6-BB71-FD22E2565C5E}"/>
              </a:ext>
            </a:extLst>
          </p:cNvPr>
          <p:cNvSpPr txBox="1"/>
          <p:nvPr/>
        </p:nvSpPr>
        <p:spPr>
          <a:xfrm>
            <a:off x="4315374" y="771845"/>
            <a:ext cx="3955169" cy="769441"/>
          </a:xfrm>
          <a:prstGeom prst="rect">
            <a:avLst/>
          </a:prstGeom>
          <a:noFill/>
        </p:spPr>
        <p:txBody>
          <a:bodyPr wrap="square" rtlCol="0">
            <a:spAutoFit/>
          </a:bodyPr>
          <a:lstStyle/>
          <a:p>
            <a:pPr algn="ctr"/>
            <a:r>
              <a:rPr lang="fr-FR" sz="4400" b="1" spc="300" dirty="0">
                <a:solidFill>
                  <a:schemeClr val="tx1">
                    <a:lumMod val="75000"/>
                    <a:lumOff val="25000"/>
                  </a:schemeClr>
                </a:solidFill>
                <a:latin typeface="Montserrat" pitchFamily="2" charset="77"/>
              </a:rPr>
              <a:t>GIT TAG</a:t>
            </a:r>
            <a:endParaRPr lang="en-LT" sz="4400" b="1" spc="300" dirty="0">
              <a:solidFill>
                <a:schemeClr val="tx1">
                  <a:lumMod val="75000"/>
                  <a:lumOff val="25000"/>
                </a:schemeClr>
              </a:solidFill>
              <a:latin typeface="Montserrat" pitchFamily="2" charset="77"/>
            </a:endParaRPr>
          </a:p>
        </p:txBody>
      </p:sp>
      <p:pic>
        <p:nvPicPr>
          <p:cNvPr id="9" name="Graphique 8">
            <a:hlinkClick r:id="rId5" action="ppaction://hlinksldjump"/>
            <a:extLst>
              <a:ext uri="{FF2B5EF4-FFF2-40B4-BE49-F238E27FC236}">
                <a16:creationId xmlns:a16="http://schemas.microsoft.com/office/drawing/2014/main" id="{2707E32F-1A15-457E-8623-3EAB85302F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51789" y="6202584"/>
            <a:ext cx="548855" cy="548855"/>
          </a:xfrm>
          <a:prstGeom prst="rect">
            <a:avLst/>
          </a:prstGeom>
        </p:spPr>
      </p:pic>
    </p:spTree>
    <p:extLst>
      <p:ext uri="{BB962C8B-B14F-4D97-AF65-F5344CB8AC3E}">
        <p14:creationId xmlns:p14="http://schemas.microsoft.com/office/powerpoint/2010/main" val="7194106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73A4C"/>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528743" y="240848"/>
            <a:ext cx="6254193" cy="6125664"/>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3286297" y="1200284"/>
            <a:ext cx="9749785" cy="49705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400" dirty="0">
                <a:ln w="25400">
                  <a:solidFill>
                    <a:prstClr val="white"/>
                  </a:solidFill>
                </a:ln>
                <a:noFill/>
                <a:latin typeface="Gotham Black" pitchFamily="50" charset="0"/>
              </a:rPr>
              <a:t>MANUEL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300" b="0" i="0" u="none" strike="noStrike" kern="1200" cap="none" spc="0" normalizeH="0" baseline="0" noProof="0" dirty="0">
                <a:ln w="25400">
                  <a:solidFill>
                    <a:prstClr val="white"/>
                  </a:solidFill>
                </a:ln>
                <a:noFill/>
                <a:effectLst/>
                <a:uLnTx/>
                <a:uFillTx/>
                <a:latin typeface="Gotham Black" pitchFamily="50" charset="0"/>
                <a:ea typeface="+mn-ea"/>
                <a:cs typeface="+mn-cs"/>
              </a:rPr>
              <a:t>CI/CD</a:t>
            </a: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4259729110"/>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0" y="0"/>
            <a:ext cx="12192000" cy="6858000"/>
          </a:xfrm>
          <a:prstGeom prst="rect">
            <a:avLst/>
          </a:prstGeom>
          <a:solidFill>
            <a:srgbClr val="073A4C"/>
          </a:solidFill>
          <a:ln>
            <a:noFill/>
          </a:ln>
          <a:effectLst>
            <a:outerShdw blurRad="50800" dist="50800" dir="30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0" name="think-cell Slide" r:id="rId8" imgW="425" imgH="424" progId="TCLayout.ActiveDocument.1">
                  <p:embed/>
                </p:oleObj>
              </mc:Choice>
              <mc:Fallback>
                <p:oleObj name="think-cell Slide" r:id="rId8"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2301A4A2-C7DF-4BA5-8607-F06B1E89B651}"/>
              </a:ext>
            </a:extLst>
          </p:cNvPr>
          <p:cNvSpPr txBox="1"/>
          <p:nvPr/>
        </p:nvSpPr>
        <p:spPr>
          <a:xfrm>
            <a:off x="3205733" y="638533"/>
            <a:ext cx="6181500" cy="1107996"/>
          </a:xfrm>
          <a:prstGeom prst="rect">
            <a:avLst/>
          </a:prstGeom>
          <a:noFill/>
        </p:spPr>
        <p:txBody>
          <a:bodyPr wrap="none" rtlCol="0">
            <a:spAutoFit/>
          </a:bodyPr>
          <a:lstStyle/>
          <a:p>
            <a:pPr algn="ctr"/>
            <a:r>
              <a:rPr lang="en-US" sz="6600" dirty="0">
                <a:solidFill>
                  <a:schemeClr val="bg1"/>
                </a:solidFill>
                <a:effectLst>
                  <a:outerShdw blurRad="38100" dist="38100" dir="2700000" algn="tl">
                    <a:srgbClr val="000000">
                      <a:alpha val="43137"/>
                    </a:srgbClr>
                  </a:outerShdw>
                </a:effectLst>
                <a:latin typeface="Chewy" panose="02000000000000000000" pitchFamily="2" charset="0"/>
              </a:rPr>
              <a:t>CI/CD &amp; MANUEL</a:t>
            </a:r>
            <a:endParaRPr lang="en-US" sz="6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pic>
        <p:nvPicPr>
          <p:cNvPr id="23" name="Picture 22">
            <a:extLst>
              <a:ext uri="{FF2B5EF4-FFF2-40B4-BE49-F238E27FC236}">
                <a16:creationId xmlns:a16="http://schemas.microsoft.com/office/drawing/2014/main" id="{61E29E92-FC94-5F40-9A1C-1102C769BEBB}"/>
              </a:ext>
            </a:extLst>
          </p:cNvPr>
          <p:cNvPicPr>
            <a:picLocks noChangeAspect="1"/>
          </p:cNvPicPr>
          <p:nvPr/>
        </p:nvPicPr>
        <p:blipFill>
          <a:blip r:embed="rId10"/>
          <a:stretch>
            <a:fillRect/>
          </a:stretch>
        </p:blipFill>
        <p:spPr>
          <a:xfrm>
            <a:off x="-9036469" y="2751912"/>
            <a:ext cx="8412480" cy="2470332"/>
          </a:xfrm>
          <a:prstGeom prst="rect">
            <a:avLst/>
          </a:prstGeom>
        </p:spPr>
      </p:pic>
      <p:pic>
        <p:nvPicPr>
          <p:cNvPr id="16" name="Graphique 15">
            <a:hlinkClick r:id="rId11" action="ppaction://hlinksldjump"/>
            <a:extLst>
              <a:ext uri="{FF2B5EF4-FFF2-40B4-BE49-F238E27FC236}">
                <a16:creationId xmlns:a16="http://schemas.microsoft.com/office/drawing/2014/main" id="{B8956004-BC7E-4D8C-89F1-DC560295C57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551789" y="6202584"/>
            <a:ext cx="548855" cy="548855"/>
          </a:xfrm>
          <a:prstGeom prst="rect">
            <a:avLst/>
          </a:prstGeom>
        </p:spPr>
      </p:pic>
      <p:sp>
        <p:nvSpPr>
          <p:cNvPr id="17" name="Oval 51">
            <a:extLst>
              <a:ext uri="{FF2B5EF4-FFF2-40B4-BE49-F238E27FC236}">
                <a16:creationId xmlns:a16="http://schemas.microsoft.com/office/drawing/2014/main" id="{7120FE02-D0F9-45F6-AF3B-525AD7A350EC}"/>
              </a:ext>
            </a:extLst>
          </p:cNvPr>
          <p:cNvSpPr/>
          <p:nvPr/>
        </p:nvSpPr>
        <p:spPr>
          <a:xfrm>
            <a:off x="5067569" y="5537156"/>
            <a:ext cx="2056488" cy="213287"/>
          </a:xfrm>
          <a:prstGeom prst="ellipse">
            <a:avLst/>
          </a:prstGeom>
          <a:gradFill flip="none" rotWithShape="1">
            <a:gsLst>
              <a:gs pos="0">
                <a:sysClr val="windowText" lastClr="000000">
                  <a:lumMod val="50000"/>
                  <a:lumOff val="50000"/>
                  <a:alpha val="70000"/>
                </a:sysClr>
              </a:gs>
              <a:gs pos="100000">
                <a:schemeClr val="bg1">
                  <a:lumMod val="50000"/>
                  <a:alpha val="0"/>
                </a:scheme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a:solidFill>
                <a:sysClr val="window" lastClr="FFFFFF"/>
              </a:solidFill>
              <a:latin typeface="Calibri"/>
            </a:endParaRPr>
          </a:p>
        </p:txBody>
      </p:sp>
      <p:cxnSp>
        <p:nvCxnSpPr>
          <p:cNvPr id="18" name="Straight Connector 45">
            <a:extLst>
              <a:ext uri="{FF2B5EF4-FFF2-40B4-BE49-F238E27FC236}">
                <a16:creationId xmlns:a16="http://schemas.microsoft.com/office/drawing/2014/main" id="{92DF34B2-B44A-41E9-B3EF-D42BB2CA1FFB}"/>
              </a:ext>
            </a:extLst>
          </p:cNvPr>
          <p:cNvCxnSpPr>
            <a:cxnSpLocks/>
          </p:cNvCxnSpPr>
          <p:nvPr/>
        </p:nvCxnSpPr>
        <p:spPr>
          <a:xfrm>
            <a:off x="763496" y="1766285"/>
            <a:ext cx="480273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46">
            <a:extLst>
              <a:ext uri="{FF2B5EF4-FFF2-40B4-BE49-F238E27FC236}">
                <a16:creationId xmlns:a16="http://schemas.microsoft.com/office/drawing/2014/main" id="{9E6A8963-B1DB-45E8-B9E9-0C76DB1C4FA4}"/>
              </a:ext>
            </a:extLst>
          </p:cNvPr>
          <p:cNvCxnSpPr/>
          <p:nvPr/>
        </p:nvCxnSpPr>
        <p:spPr>
          <a:xfrm>
            <a:off x="6636911" y="1766285"/>
            <a:ext cx="480273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2" name="Group 23">
            <a:extLst>
              <a:ext uri="{FF2B5EF4-FFF2-40B4-BE49-F238E27FC236}">
                <a16:creationId xmlns:a16="http://schemas.microsoft.com/office/drawing/2014/main" id="{00FEAFD8-0802-4FE7-A9ED-0972F8DDC8C7}"/>
              </a:ext>
            </a:extLst>
          </p:cNvPr>
          <p:cNvGrpSpPr/>
          <p:nvPr/>
        </p:nvGrpSpPr>
        <p:grpSpPr>
          <a:xfrm>
            <a:off x="4557243" y="2569245"/>
            <a:ext cx="3077514" cy="3074554"/>
            <a:chOff x="4388515" y="2647807"/>
            <a:chExt cx="3077514" cy="3074554"/>
          </a:xfrm>
        </p:grpSpPr>
        <p:sp>
          <p:nvSpPr>
            <p:cNvPr id="24" name="Freeform: Shape 17">
              <a:extLst>
                <a:ext uri="{FF2B5EF4-FFF2-40B4-BE49-F238E27FC236}">
                  <a16:creationId xmlns:a16="http://schemas.microsoft.com/office/drawing/2014/main" id="{30C6D6CA-8B92-43BA-91B4-A8B775F74869}"/>
                </a:ext>
              </a:extLst>
            </p:cNvPr>
            <p:cNvSpPr/>
            <p:nvPr/>
          </p:nvSpPr>
          <p:spPr>
            <a:xfrm>
              <a:off x="4388515" y="2647807"/>
              <a:ext cx="1509478" cy="3074554"/>
            </a:xfrm>
            <a:custGeom>
              <a:avLst/>
              <a:gdLst>
                <a:gd name="connsiteX0" fmla="*/ 1215070 w 1215070"/>
                <a:gd name="connsiteY0" fmla="*/ 0 h 2474896"/>
                <a:gd name="connsiteX1" fmla="*/ 1215070 w 1215070"/>
                <a:gd name="connsiteY1" fmla="*/ 2474896 h 2474896"/>
                <a:gd name="connsiteX2" fmla="*/ 1111994 w 1215070"/>
                <a:gd name="connsiteY2" fmla="*/ 2469691 h 2474896"/>
                <a:gd name="connsiteX3" fmla="*/ 0 w 1215070"/>
                <a:gd name="connsiteY3" fmla="*/ 1237448 h 2474896"/>
                <a:gd name="connsiteX4" fmla="*/ 1111994 w 1215070"/>
                <a:gd name="connsiteY4" fmla="*/ 5205 h 2474896"/>
                <a:gd name="connsiteX5" fmla="*/ 1215070 w 1215070"/>
                <a:gd name="connsiteY5" fmla="*/ 0 h 247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5070" h="2474896">
                  <a:moveTo>
                    <a:pt x="1215070" y="0"/>
                  </a:moveTo>
                  <a:lnTo>
                    <a:pt x="1215070" y="2474896"/>
                  </a:lnTo>
                  <a:lnTo>
                    <a:pt x="1111994" y="2469691"/>
                  </a:lnTo>
                  <a:cubicBezTo>
                    <a:pt x="487403" y="2406261"/>
                    <a:pt x="0" y="1878774"/>
                    <a:pt x="0" y="1237448"/>
                  </a:cubicBezTo>
                  <a:cubicBezTo>
                    <a:pt x="0" y="596122"/>
                    <a:pt x="487403" y="68636"/>
                    <a:pt x="1111994" y="5205"/>
                  </a:cubicBezTo>
                  <a:lnTo>
                    <a:pt x="121507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Freeform: Shape 16">
              <a:extLst>
                <a:ext uri="{FF2B5EF4-FFF2-40B4-BE49-F238E27FC236}">
                  <a16:creationId xmlns:a16="http://schemas.microsoft.com/office/drawing/2014/main" id="{75314FF5-4BBC-4A27-A18A-770FEB6B4FED}"/>
                </a:ext>
              </a:extLst>
            </p:cNvPr>
            <p:cNvSpPr/>
            <p:nvPr/>
          </p:nvSpPr>
          <p:spPr>
            <a:xfrm>
              <a:off x="5956552" y="2647807"/>
              <a:ext cx="1509477" cy="3074554"/>
            </a:xfrm>
            <a:custGeom>
              <a:avLst/>
              <a:gdLst>
                <a:gd name="connsiteX0" fmla="*/ 0 w 1215069"/>
                <a:gd name="connsiteY0" fmla="*/ 0 h 2474896"/>
                <a:gd name="connsiteX1" fmla="*/ 103075 w 1215069"/>
                <a:gd name="connsiteY1" fmla="*/ 5205 h 2474896"/>
                <a:gd name="connsiteX2" fmla="*/ 1215069 w 1215069"/>
                <a:gd name="connsiteY2" fmla="*/ 1237448 h 2474896"/>
                <a:gd name="connsiteX3" fmla="*/ 103075 w 1215069"/>
                <a:gd name="connsiteY3" fmla="*/ 2469691 h 2474896"/>
                <a:gd name="connsiteX4" fmla="*/ 0 w 1215069"/>
                <a:gd name="connsiteY4" fmla="*/ 2474896 h 2474896"/>
                <a:gd name="connsiteX5" fmla="*/ 0 w 1215069"/>
                <a:gd name="connsiteY5" fmla="*/ 0 h 247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5069" h="2474896">
                  <a:moveTo>
                    <a:pt x="0" y="0"/>
                  </a:moveTo>
                  <a:lnTo>
                    <a:pt x="103075" y="5205"/>
                  </a:lnTo>
                  <a:cubicBezTo>
                    <a:pt x="727666" y="68636"/>
                    <a:pt x="1215069" y="596122"/>
                    <a:pt x="1215069" y="1237448"/>
                  </a:cubicBezTo>
                  <a:cubicBezTo>
                    <a:pt x="1215069" y="1878774"/>
                    <a:pt x="727666" y="2406261"/>
                    <a:pt x="103075" y="2469691"/>
                  </a:cubicBezTo>
                  <a:lnTo>
                    <a:pt x="0" y="2474896"/>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28" name="Group 36">
            <a:extLst>
              <a:ext uri="{FF2B5EF4-FFF2-40B4-BE49-F238E27FC236}">
                <a16:creationId xmlns:a16="http://schemas.microsoft.com/office/drawing/2014/main" id="{4AE719E6-70A1-4E8B-B0AA-405C8DCA84AA}"/>
              </a:ext>
            </a:extLst>
          </p:cNvPr>
          <p:cNvGrpSpPr/>
          <p:nvPr/>
        </p:nvGrpSpPr>
        <p:grpSpPr>
          <a:xfrm>
            <a:off x="5047653" y="3565192"/>
            <a:ext cx="712002" cy="808374"/>
            <a:chOff x="-636588" y="1127125"/>
            <a:chExt cx="4503739" cy="5113337"/>
          </a:xfrm>
          <a:solidFill>
            <a:schemeClr val="bg1"/>
          </a:solidFill>
          <a:effectLst>
            <a:outerShdw blurRad="25400" dist="38100" dir="8100000" algn="tr" rotWithShape="0">
              <a:prstClr val="black">
                <a:alpha val="12000"/>
              </a:prstClr>
            </a:outerShdw>
          </a:effectLst>
        </p:grpSpPr>
        <p:sp>
          <p:nvSpPr>
            <p:cNvPr id="29" name="Freeform 5">
              <a:extLst>
                <a:ext uri="{FF2B5EF4-FFF2-40B4-BE49-F238E27FC236}">
                  <a16:creationId xmlns:a16="http://schemas.microsoft.com/office/drawing/2014/main" id="{405F41E0-68B2-4552-8BCE-CDDB3C5C5CD5}"/>
                </a:ext>
              </a:extLst>
            </p:cNvPr>
            <p:cNvSpPr>
              <a:spLocks noEditPoints="1"/>
            </p:cNvSpPr>
            <p:nvPr/>
          </p:nvSpPr>
          <p:spPr bwMode="auto">
            <a:xfrm>
              <a:off x="-636588" y="2038350"/>
              <a:ext cx="4503739" cy="4202112"/>
            </a:xfrm>
            <a:custGeom>
              <a:avLst/>
              <a:gdLst>
                <a:gd name="T0" fmla="*/ 2092 w 2092"/>
                <a:gd name="T1" fmla="*/ 911 h 1958"/>
                <a:gd name="T2" fmla="*/ 1477 w 2092"/>
                <a:gd name="T3" fmla="*/ 702 h 1958"/>
                <a:gd name="T4" fmla="*/ 1534 w 2092"/>
                <a:gd name="T5" fmla="*/ 279 h 1958"/>
                <a:gd name="T6" fmla="*/ 1186 w 2092"/>
                <a:gd name="T7" fmla="*/ 0 h 1958"/>
                <a:gd name="T8" fmla="*/ 1080 w 2092"/>
                <a:gd name="T9" fmla="*/ 205 h 1958"/>
                <a:gd name="T10" fmla="*/ 488 w 2092"/>
                <a:gd name="T11" fmla="*/ 562 h 1958"/>
                <a:gd name="T12" fmla="*/ 0 w 2092"/>
                <a:gd name="T13" fmla="*/ 632 h 1958"/>
                <a:gd name="T14" fmla="*/ 69 w 2092"/>
                <a:gd name="T15" fmla="*/ 1958 h 1958"/>
                <a:gd name="T16" fmla="*/ 677 w 2092"/>
                <a:gd name="T17" fmla="*/ 1838 h 1958"/>
                <a:gd name="T18" fmla="*/ 1159 w 2092"/>
                <a:gd name="T19" fmla="*/ 1958 h 1958"/>
                <a:gd name="T20" fmla="*/ 1953 w 2092"/>
                <a:gd name="T21" fmla="*/ 1748 h 1958"/>
                <a:gd name="T22" fmla="*/ 2092 w 2092"/>
                <a:gd name="T23" fmla="*/ 1469 h 1958"/>
                <a:gd name="T24" fmla="*/ 2092 w 2092"/>
                <a:gd name="T25" fmla="*/ 1190 h 1958"/>
                <a:gd name="T26" fmla="*/ 558 w 2092"/>
                <a:gd name="T27" fmla="*/ 1748 h 1958"/>
                <a:gd name="T28" fmla="*/ 139 w 2092"/>
                <a:gd name="T29" fmla="*/ 1818 h 1958"/>
                <a:gd name="T30" fmla="*/ 488 w 2092"/>
                <a:gd name="T31" fmla="*/ 702 h 1958"/>
                <a:gd name="T32" fmla="*/ 558 w 2092"/>
                <a:gd name="T33" fmla="*/ 1748 h 1958"/>
                <a:gd name="T34" fmla="*/ 1883 w 2092"/>
                <a:gd name="T35" fmla="*/ 1120 h 1958"/>
                <a:gd name="T36" fmla="*/ 1883 w 2092"/>
                <a:gd name="T37" fmla="*/ 1260 h 1958"/>
                <a:gd name="T38" fmla="*/ 1674 w 2092"/>
                <a:gd name="T39" fmla="*/ 1330 h 1958"/>
                <a:gd name="T40" fmla="*/ 1883 w 2092"/>
                <a:gd name="T41" fmla="*/ 1399 h 1958"/>
                <a:gd name="T42" fmla="*/ 1883 w 2092"/>
                <a:gd name="T43" fmla="*/ 1539 h 1958"/>
                <a:gd name="T44" fmla="*/ 1674 w 2092"/>
                <a:gd name="T45" fmla="*/ 1609 h 1958"/>
                <a:gd name="T46" fmla="*/ 1813 w 2092"/>
                <a:gd name="T47" fmla="*/ 1748 h 1958"/>
                <a:gd name="T48" fmla="*/ 1159 w 2092"/>
                <a:gd name="T49" fmla="*/ 1818 h 1958"/>
                <a:gd name="T50" fmla="*/ 697 w 2092"/>
                <a:gd name="T51" fmla="*/ 1698 h 1958"/>
                <a:gd name="T52" fmla="*/ 1010 w 2092"/>
                <a:gd name="T53" fmla="*/ 631 h 1958"/>
                <a:gd name="T54" fmla="*/ 1240 w 2092"/>
                <a:gd name="T55" fmla="*/ 139 h 1958"/>
                <a:gd name="T56" fmla="*/ 1395 w 2092"/>
                <a:gd name="T57" fmla="*/ 279 h 1958"/>
                <a:gd name="T58" fmla="*/ 1328 w 2092"/>
                <a:gd name="T59" fmla="*/ 702 h 1958"/>
                <a:gd name="T60" fmla="*/ 1116 w 2092"/>
                <a:gd name="T61" fmla="*/ 772 h 1958"/>
                <a:gd name="T62" fmla="*/ 1883 w 2092"/>
                <a:gd name="T63" fmla="*/ 841 h 1958"/>
                <a:gd name="T64" fmla="*/ 1883 w 2092"/>
                <a:gd name="T65" fmla="*/ 981 h 1958"/>
                <a:gd name="T66" fmla="*/ 1674 w 2092"/>
                <a:gd name="T67" fmla="*/ 1051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2" h="1958">
                  <a:moveTo>
                    <a:pt x="2039" y="1051"/>
                  </a:moveTo>
                  <a:cubicBezTo>
                    <a:pt x="2072" y="1014"/>
                    <a:pt x="2092" y="965"/>
                    <a:pt x="2092" y="911"/>
                  </a:cubicBezTo>
                  <a:cubicBezTo>
                    <a:pt x="2092" y="796"/>
                    <a:pt x="1998" y="702"/>
                    <a:pt x="1883" y="702"/>
                  </a:cubicBezTo>
                  <a:cubicBezTo>
                    <a:pt x="1477" y="702"/>
                    <a:pt x="1477" y="702"/>
                    <a:pt x="1477" y="702"/>
                  </a:cubicBezTo>
                  <a:cubicBezTo>
                    <a:pt x="1517" y="580"/>
                    <a:pt x="1534" y="418"/>
                    <a:pt x="1534" y="348"/>
                  </a:cubicBezTo>
                  <a:cubicBezTo>
                    <a:pt x="1534" y="279"/>
                    <a:pt x="1534" y="279"/>
                    <a:pt x="1534" y="279"/>
                  </a:cubicBezTo>
                  <a:cubicBezTo>
                    <a:pt x="1534" y="125"/>
                    <a:pt x="1409" y="0"/>
                    <a:pt x="1255" y="0"/>
                  </a:cubicBezTo>
                  <a:cubicBezTo>
                    <a:pt x="1186" y="0"/>
                    <a:pt x="1186" y="0"/>
                    <a:pt x="1186" y="0"/>
                  </a:cubicBezTo>
                  <a:cubicBezTo>
                    <a:pt x="1154" y="0"/>
                    <a:pt x="1126" y="21"/>
                    <a:pt x="1118" y="52"/>
                  </a:cubicBezTo>
                  <a:cubicBezTo>
                    <a:pt x="1080" y="205"/>
                    <a:pt x="1080" y="205"/>
                    <a:pt x="1080" y="205"/>
                  </a:cubicBezTo>
                  <a:cubicBezTo>
                    <a:pt x="1027" y="417"/>
                    <a:pt x="858" y="652"/>
                    <a:pt x="683" y="695"/>
                  </a:cubicBezTo>
                  <a:cubicBezTo>
                    <a:pt x="652" y="617"/>
                    <a:pt x="576" y="562"/>
                    <a:pt x="488" y="562"/>
                  </a:cubicBezTo>
                  <a:cubicBezTo>
                    <a:pt x="69" y="562"/>
                    <a:pt x="69" y="562"/>
                    <a:pt x="69" y="562"/>
                  </a:cubicBezTo>
                  <a:cubicBezTo>
                    <a:pt x="31" y="562"/>
                    <a:pt x="0" y="594"/>
                    <a:pt x="0" y="632"/>
                  </a:cubicBezTo>
                  <a:cubicBezTo>
                    <a:pt x="0" y="1888"/>
                    <a:pt x="0" y="1888"/>
                    <a:pt x="0" y="1888"/>
                  </a:cubicBezTo>
                  <a:cubicBezTo>
                    <a:pt x="0" y="1926"/>
                    <a:pt x="31" y="1958"/>
                    <a:pt x="69" y="1958"/>
                  </a:cubicBezTo>
                  <a:cubicBezTo>
                    <a:pt x="488" y="1958"/>
                    <a:pt x="488" y="1958"/>
                    <a:pt x="488" y="1958"/>
                  </a:cubicBezTo>
                  <a:cubicBezTo>
                    <a:pt x="571" y="1958"/>
                    <a:pt x="643" y="1909"/>
                    <a:pt x="677" y="1838"/>
                  </a:cubicBezTo>
                  <a:cubicBezTo>
                    <a:pt x="917" y="1918"/>
                    <a:pt x="917" y="1918"/>
                    <a:pt x="917" y="1918"/>
                  </a:cubicBezTo>
                  <a:cubicBezTo>
                    <a:pt x="995" y="1944"/>
                    <a:pt x="1077" y="1958"/>
                    <a:pt x="1159" y="1958"/>
                  </a:cubicBezTo>
                  <a:cubicBezTo>
                    <a:pt x="1744" y="1958"/>
                    <a:pt x="1744" y="1958"/>
                    <a:pt x="1744" y="1958"/>
                  </a:cubicBezTo>
                  <a:cubicBezTo>
                    <a:pt x="1859" y="1958"/>
                    <a:pt x="1953" y="1864"/>
                    <a:pt x="1953" y="1748"/>
                  </a:cubicBezTo>
                  <a:cubicBezTo>
                    <a:pt x="1953" y="1721"/>
                    <a:pt x="1948" y="1695"/>
                    <a:pt x="1938" y="1671"/>
                  </a:cubicBezTo>
                  <a:cubicBezTo>
                    <a:pt x="2027" y="1647"/>
                    <a:pt x="2092" y="1566"/>
                    <a:pt x="2092" y="1469"/>
                  </a:cubicBezTo>
                  <a:cubicBezTo>
                    <a:pt x="2092" y="1416"/>
                    <a:pt x="2072" y="1367"/>
                    <a:pt x="2039" y="1330"/>
                  </a:cubicBezTo>
                  <a:cubicBezTo>
                    <a:pt x="2072" y="1293"/>
                    <a:pt x="2092" y="1244"/>
                    <a:pt x="2092" y="1190"/>
                  </a:cubicBezTo>
                  <a:cubicBezTo>
                    <a:pt x="2092" y="1137"/>
                    <a:pt x="2072" y="1088"/>
                    <a:pt x="2039" y="1051"/>
                  </a:cubicBezTo>
                  <a:close/>
                  <a:moveTo>
                    <a:pt x="558" y="1748"/>
                  </a:moveTo>
                  <a:cubicBezTo>
                    <a:pt x="558" y="1787"/>
                    <a:pt x="526" y="1818"/>
                    <a:pt x="488" y="1818"/>
                  </a:cubicBezTo>
                  <a:cubicBezTo>
                    <a:pt x="139" y="1818"/>
                    <a:pt x="139" y="1818"/>
                    <a:pt x="139" y="1818"/>
                  </a:cubicBezTo>
                  <a:cubicBezTo>
                    <a:pt x="139" y="702"/>
                    <a:pt x="139" y="702"/>
                    <a:pt x="139" y="702"/>
                  </a:cubicBezTo>
                  <a:cubicBezTo>
                    <a:pt x="488" y="702"/>
                    <a:pt x="488" y="702"/>
                    <a:pt x="488" y="702"/>
                  </a:cubicBezTo>
                  <a:cubicBezTo>
                    <a:pt x="526" y="702"/>
                    <a:pt x="558" y="733"/>
                    <a:pt x="558" y="772"/>
                  </a:cubicBezTo>
                  <a:lnTo>
                    <a:pt x="558" y="1748"/>
                  </a:lnTo>
                  <a:close/>
                  <a:moveTo>
                    <a:pt x="1744" y="1120"/>
                  </a:moveTo>
                  <a:cubicBezTo>
                    <a:pt x="1883" y="1120"/>
                    <a:pt x="1883" y="1120"/>
                    <a:pt x="1883" y="1120"/>
                  </a:cubicBezTo>
                  <a:cubicBezTo>
                    <a:pt x="1922" y="1120"/>
                    <a:pt x="1953" y="1152"/>
                    <a:pt x="1953" y="1190"/>
                  </a:cubicBezTo>
                  <a:cubicBezTo>
                    <a:pt x="1953" y="1229"/>
                    <a:pt x="1922" y="1260"/>
                    <a:pt x="1883" y="1260"/>
                  </a:cubicBezTo>
                  <a:cubicBezTo>
                    <a:pt x="1744" y="1260"/>
                    <a:pt x="1744" y="1260"/>
                    <a:pt x="1744" y="1260"/>
                  </a:cubicBezTo>
                  <a:cubicBezTo>
                    <a:pt x="1705" y="1260"/>
                    <a:pt x="1674" y="1291"/>
                    <a:pt x="1674" y="1330"/>
                  </a:cubicBezTo>
                  <a:cubicBezTo>
                    <a:pt x="1674" y="1368"/>
                    <a:pt x="1705" y="1399"/>
                    <a:pt x="1744" y="1399"/>
                  </a:cubicBezTo>
                  <a:cubicBezTo>
                    <a:pt x="1883" y="1399"/>
                    <a:pt x="1883" y="1399"/>
                    <a:pt x="1883" y="1399"/>
                  </a:cubicBezTo>
                  <a:cubicBezTo>
                    <a:pt x="1922" y="1399"/>
                    <a:pt x="1953" y="1431"/>
                    <a:pt x="1953" y="1469"/>
                  </a:cubicBezTo>
                  <a:cubicBezTo>
                    <a:pt x="1953" y="1508"/>
                    <a:pt x="1922" y="1539"/>
                    <a:pt x="1883" y="1539"/>
                  </a:cubicBezTo>
                  <a:cubicBezTo>
                    <a:pt x="1744" y="1539"/>
                    <a:pt x="1744" y="1539"/>
                    <a:pt x="1744" y="1539"/>
                  </a:cubicBezTo>
                  <a:cubicBezTo>
                    <a:pt x="1705" y="1539"/>
                    <a:pt x="1674" y="1570"/>
                    <a:pt x="1674" y="1609"/>
                  </a:cubicBezTo>
                  <a:cubicBezTo>
                    <a:pt x="1674" y="1647"/>
                    <a:pt x="1705" y="1679"/>
                    <a:pt x="1744" y="1679"/>
                  </a:cubicBezTo>
                  <a:cubicBezTo>
                    <a:pt x="1782" y="1679"/>
                    <a:pt x="1813" y="1710"/>
                    <a:pt x="1813" y="1748"/>
                  </a:cubicBezTo>
                  <a:cubicBezTo>
                    <a:pt x="1813" y="1787"/>
                    <a:pt x="1782" y="1818"/>
                    <a:pt x="1744" y="1818"/>
                  </a:cubicBezTo>
                  <a:cubicBezTo>
                    <a:pt x="1159" y="1818"/>
                    <a:pt x="1159" y="1818"/>
                    <a:pt x="1159" y="1818"/>
                  </a:cubicBezTo>
                  <a:cubicBezTo>
                    <a:pt x="1092" y="1818"/>
                    <a:pt x="1025" y="1807"/>
                    <a:pt x="961" y="1786"/>
                  </a:cubicBezTo>
                  <a:cubicBezTo>
                    <a:pt x="697" y="1698"/>
                    <a:pt x="697" y="1698"/>
                    <a:pt x="697" y="1698"/>
                  </a:cubicBezTo>
                  <a:cubicBezTo>
                    <a:pt x="697" y="835"/>
                    <a:pt x="697" y="835"/>
                    <a:pt x="697" y="835"/>
                  </a:cubicBezTo>
                  <a:cubicBezTo>
                    <a:pt x="807" y="814"/>
                    <a:pt x="914" y="745"/>
                    <a:pt x="1010" y="631"/>
                  </a:cubicBezTo>
                  <a:cubicBezTo>
                    <a:pt x="1105" y="521"/>
                    <a:pt x="1181" y="374"/>
                    <a:pt x="1215" y="238"/>
                  </a:cubicBezTo>
                  <a:cubicBezTo>
                    <a:pt x="1240" y="139"/>
                    <a:pt x="1240" y="139"/>
                    <a:pt x="1240" y="139"/>
                  </a:cubicBezTo>
                  <a:cubicBezTo>
                    <a:pt x="1255" y="139"/>
                    <a:pt x="1255" y="139"/>
                    <a:pt x="1255" y="139"/>
                  </a:cubicBezTo>
                  <a:cubicBezTo>
                    <a:pt x="1332" y="139"/>
                    <a:pt x="1395" y="202"/>
                    <a:pt x="1395" y="279"/>
                  </a:cubicBezTo>
                  <a:cubicBezTo>
                    <a:pt x="1395" y="348"/>
                    <a:pt x="1395" y="348"/>
                    <a:pt x="1395" y="348"/>
                  </a:cubicBezTo>
                  <a:cubicBezTo>
                    <a:pt x="1395" y="442"/>
                    <a:pt x="1366" y="622"/>
                    <a:pt x="1328" y="702"/>
                  </a:cubicBezTo>
                  <a:cubicBezTo>
                    <a:pt x="1186" y="702"/>
                    <a:pt x="1186" y="702"/>
                    <a:pt x="1186" y="702"/>
                  </a:cubicBezTo>
                  <a:cubicBezTo>
                    <a:pt x="1147" y="702"/>
                    <a:pt x="1116" y="733"/>
                    <a:pt x="1116" y="772"/>
                  </a:cubicBezTo>
                  <a:cubicBezTo>
                    <a:pt x="1116" y="810"/>
                    <a:pt x="1147" y="841"/>
                    <a:pt x="1186" y="841"/>
                  </a:cubicBezTo>
                  <a:cubicBezTo>
                    <a:pt x="1883" y="841"/>
                    <a:pt x="1883" y="841"/>
                    <a:pt x="1883" y="841"/>
                  </a:cubicBezTo>
                  <a:cubicBezTo>
                    <a:pt x="1922" y="841"/>
                    <a:pt x="1953" y="873"/>
                    <a:pt x="1953" y="911"/>
                  </a:cubicBezTo>
                  <a:cubicBezTo>
                    <a:pt x="1953" y="950"/>
                    <a:pt x="1922" y="981"/>
                    <a:pt x="1883" y="981"/>
                  </a:cubicBezTo>
                  <a:cubicBezTo>
                    <a:pt x="1744" y="981"/>
                    <a:pt x="1744" y="981"/>
                    <a:pt x="1744" y="981"/>
                  </a:cubicBezTo>
                  <a:cubicBezTo>
                    <a:pt x="1705" y="981"/>
                    <a:pt x="1674" y="1012"/>
                    <a:pt x="1674" y="1051"/>
                  </a:cubicBezTo>
                  <a:cubicBezTo>
                    <a:pt x="1674" y="1089"/>
                    <a:pt x="1705" y="1120"/>
                    <a:pt x="1744" y="1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 name="Oval 6">
              <a:extLst>
                <a:ext uri="{FF2B5EF4-FFF2-40B4-BE49-F238E27FC236}">
                  <a16:creationId xmlns:a16="http://schemas.microsoft.com/office/drawing/2014/main" id="{499D5A7B-A946-482B-83E2-C37632D0861A}"/>
                </a:ext>
              </a:extLst>
            </p:cNvPr>
            <p:cNvSpPr>
              <a:spLocks noChangeArrowheads="1"/>
            </p:cNvSpPr>
            <p:nvPr/>
          </p:nvSpPr>
          <p:spPr bwMode="auto">
            <a:xfrm>
              <a:off x="-36513" y="5341938"/>
              <a:ext cx="300038" cy="3000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 name="Freeform 7">
              <a:extLst>
                <a:ext uri="{FF2B5EF4-FFF2-40B4-BE49-F238E27FC236}">
                  <a16:creationId xmlns:a16="http://schemas.microsoft.com/office/drawing/2014/main" id="{B7F49ACF-73D6-4A6B-8F3B-75DF47B721D5}"/>
                </a:ext>
              </a:extLst>
            </p:cNvPr>
            <p:cNvSpPr>
              <a:spLocks/>
            </p:cNvSpPr>
            <p:nvPr/>
          </p:nvSpPr>
          <p:spPr bwMode="auto">
            <a:xfrm>
              <a:off x="2065338" y="1127125"/>
              <a:ext cx="301625" cy="611187"/>
            </a:xfrm>
            <a:custGeom>
              <a:avLst/>
              <a:gdLst>
                <a:gd name="T0" fmla="*/ 70 w 140"/>
                <a:gd name="T1" fmla="*/ 0 h 284"/>
                <a:gd name="T2" fmla="*/ 0 w 140"/>
                <a:gd name="T3" fmla="*/ 70 h 284"/>
                <a:gd name="T4" fmla="*/ 0 w 140"/>
                <a:gd name="T5" fmla="*/ 214 h 284"/>
                <a:gd name="T6" fmla="*/ 70 w 140"/>
                <a:gd name="T7" fmla="*/ 284 h 284"/>
                <a:gd name="T8" fmla="*/ 140 w 140"/>
                <a:gd name="T9" fmla="*/ 214 h 284"/>
                <a:gd name="T10" fmla="*/ 140 w 140"/>
                <a:gd name="T11" fmla="*/ 70 h 284"/>
                <a:gd name="T12" fmla="*/ 70 w 140"/>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140" h="284">
                  <a:moveTo>
                    <a:pt x="70" y="0"/>
                  </a:moveTo>
                  <a:cubicBezTo>
                    <a:pt x="32" y="0"/>
                    <a:pt x="0" y="32"/>
                    <a:pt x="0" y="70"/>
                  </a:cubicBezTo>
                  <a:cubicBezTo>
                    <a:pt x="0" y="214"/>
                    <a:pt x="0" y="214"/>
                    <a:pt x="0" y="214"/>
                  </a:cubicBezTo>
                  <a:cubicBezTo>
                    <a:pt x="0" y="253"/>
                    <a:pt x="32" y="284"/>
                    <a:pt x="70" y="284"/>
                  </a:cubicBezTo>
                  <a:cubicBezTo>
                    <a:pt x="109" y="284"/>
                    <a:pt x="140" y="253"/>
                    <a:pt x="140" y="214"/>
                  </a:cubicBezTo>
                  <a:cubicBezTo>
                    <a:pt x="140" y="70"/>
                    <a:pt x="140" y="70"/>
                    <a:pt x="140" y="70"/>
                  </a:cubicBezTo>
                  <a:cubicBezTo>
                    <a:pt x="140" y="32"/>
                    <a:pt x="109"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 name="Freeform 8">
              <a:extLst>
                <a:ext uri="{FF2B5EF4-FFF2-40B4-BE49-F238E27FC236}">
                  <a16:creationId xmlns:a16="http://schemas.microsoft.com/office/drawing/2014/main" id="{F9377CC7-8FDF-43AB-BAFE-445A7BDE1D78}"/>
                </a:ext>
              </a:extLst>
            </p:cNvPr>
            <p:cNvSpPr>
              <a:spLocks/>
            </p:cNvSpPr>
            <p:nvPr/>
          </p:nvSpPr>
          <p:spPr bwMode="auto">
            <a:xfrm>
              <a:off x="1096962" y="1519238"/>
              <a:ext cx="539750" cy="539750"/>
            </a:xfrm>
            <a:custGeom>
              <a:avLst/>
              <a:gdLst>
                <a:gd name="T0" fmla="*/ 224 w 251"/>
                <a:gd name="T1" fmla="*/ 126 h 252"/>
                <a:gd name="T2" fmla="*/ 125 w 251"/>
                <a:gd name="T3" fmla="*/ 27 h 252"/>
                <a:gd name="T4" fmla="*/ 27 w 251"/>
                <a:gd name="T5" fmla="*/ 27 h 252"/>
                <a:gd name="T6" fmla="*/ 27 w 251"/>
                <a:gd name="T7" fmla="*/ 126 h 252"/>
                <a:gd name="T8" fmla="*/ 125 w 251"/>
                <a:gd name="T9" fmla="*/ 225 h 252"/>
                <a:gd name="T10" fmla="*/ 224 w 251"/>
                <a:gd name="T11" fmla="*/ 225 h 252"/>
                <a:gd name="T12" fmla="*/ 224 w 251"/>
                <a:gd name="T13" fmla="*/ 126 h 252"/>
              </a:gdLst>
              <a:ahLst/>
              <a:cxnLst>
                <a:cxn ang="0">
                  <a:pos x="T0" y="T1"/>
                </a:cxn>
                <a:cxn ang="0">
                  <a:pos x="T2" y="T3"/>
                </a:cxn>
                <a:cxn ang="0">
                  <a:pos x="T4" y="T5"/>
                </a:cxn>
                <a:cxn ang="0">
                  <a:pos x="T6" y="T7"/>
                </a:cxn>
                <a:cxn ang="0">
                  <a:pos x="T8" y="T9"/>
                </a:cxn>
                <a:cxn ang="0">
                  <a:pos x="T10" y="T11"/>
                </a:cxn>
                <a:cxn ang="0">
                  <a:pos x="T12" y="T13"/>
                </a:cxn>
              </a:cxnLst>
              <a:rect l="0" t="0" r="r" b="b"/>
              <a:pathLst>
                <a:path w="251" h="252">
                  <a:moveTo>
                    <a:pt x="224" y="126"/>
                  </a:moveTo>
                  <a:cubicBezTo>
                    <a:pt x="125" y="27"/>
                    <a:pt x="125" y="27"/>
                    <a:pt x="125" y="27"/>
                  </a:cubicBezTo>
                  <a:cubicBezTo>
                    <a:pt x="98" y="0"/>
                    <a:pt x="54" y="0"/>
                    <a:pt x="27" y="27"/>
                  </a:cubicBezTo>
                  <a:cubicBezTo>
                    <a:pt x="0" y="55"/>
                    <a:pt x="0" y="99"/>
                    <a:pt x="27" y="126"/>
                  </a:cubicBezTo>
                  <a:cubicBezTo>
                    <a:pt x="125" y="225"/>
                    <a:pt x="125" y="225"/>
                    <a:pt x="125" y="225"/>
                  </a:cubicBezTo>
                  <a:cubicBezTo>
                    <a:pt x="153" y="252"/>
                    <a:pt x="197" y="252"/>
                    <a:pt x="224" y="225"/>
                  </a:cubicBezTo>
                  <a:cubicBezTo>
                    <a:pt x="251" y="197"/>
                    <a:pt x="251" y="153"/>
                    <a:pt x="2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 name="Freeform 9">
              <a:extLst>
                <a:ext uri="{FF2B5EF4-FFF2-40B4-BE49-F238E27FC236}">
                  <a16:creationId xmlns:a16="http://schemas.microsoft.com/office/drawing/2014/main" id="{449C3F46-C267-458F-B784-FDAEE147DC7A}"/>
                </a:ext>
              </a:extLst>
            </p:cNvPr>
            <p:cNvSpPr>
              <a:spLocks/>
            </p:cNvSpPr>
            <p:nvPr/>
          </p:nvSpPr>
          <p:spPr bwMode="auto">
            <a:xfrm>
              <a:off x="2795588" y="1519238"/>
              <a:ext cx="542925" cy="539750"/>
            </a:xfrm>
            <a:custGeom>
              <a:avLst/>
              <a:gdLst>
                <a:gd name="T0" fmla="*/ 224 w 252"/>
                <a:gd name="T1" fmla="*/ 27 h 252"/>
                <a:gd name="T2" fmla="*/ 126 w 252"/>
                <a:gd name="T3" fmla="*/ 27 h 252"/>
                <a:gd name="T4" fmla="*/ 27 w 252"/>
                <a:gd name="T5" fmla="*/ 126 h 252"/>
                <a:gd name="T6" fmla="*/ 27 w 252"/>
                <a:gd name="T7" fmla="*/ 225 h 252"/>
                <a:gd name="T8" fmla="*/ 126 w 252"/>
                <a:gd name="T9" fmla="*/ 225 h 252"/>
                <a:gd name="T10" fmla="*/ 224 w 252"/>
                <a:gd name="T11" fmla="*/ 126 h 252"/>
                <a:gd name="T12" fmla="*/ 224 w 252"/>
                <a:gd name="T13" fmla="*/ 27 h 252"/>
              </a:gdLst>
              <a:ahLst/>
              <a:cxnLst>
                <a:cxn ang="0">
                  <a:pos x="T0" y="T1"/>
                </a:cxn>
                <a:cxn ang="0">
                  <a:pos x="T2" y="T3"/>
                </a:cxn>
                <a:cxn ang="0">
                  <a:pos x="T4" y="T5"/>
                </a:cxn>
                <a:cxn ang="0">
                  <a:pos x="T6" y="T7"/>
                </a:cxn>
                <a:cxn ang="0">
                  <a:pos x="T8" y="T9"/>
                </a:cxn>
                <a:cxn ang="0">
                  <a:pos x="T10" y="T11"/>
                </a:cxn>
                <a:cxn ang="0">
                  <a:pos x="T12" y="T13"/>
                </a:cxn>
              </a:cxnLst>
              <a:rect l="0" t="0" r="r" b="b"/>
              <a:pathLst>
                <a:path w="252" h="252">
                  <a:moveTo>
                    <a:pt x="224" y="27"/>
                  </a:moveTo>
                  <a:cubicBezTo>
                    <a:pt x="197" y="0"/>
                    <a:pt x="153" y="0"/>
                    <a:pt x="126" y="27"/>
                  </a:cubicBezTo>
                  <a:cubicBezTo>
                    <a:pt x="27" y="126"/>
                    <a:pt x="27" y="126"/>
                    <a:pt x="27" y="126"/>
                  </a:cubicBezTo>
                  <a:cubicBezTo>
                    <a:pt x="0" y="153"/>
                    <a:pt x="0" y="197"/>
                    <a:pt x="27" y="225"/>
                  </a:cubicBezTo>
                  <a:cubicBezTo>
                    <a:pt x="54" y="252"/>
                    <a:pt x="98" y="252"/>
                    <a:pt x="126" y="225"/>
                  </a:cubicBezTo>
                  <a:cubicBezTo>
                    <a:pt x="224" y="126"/>
                    <a:pt x="224" y="126"/>
                    <a:pt x="224" y="126"/>
                  </a:cubicBezTo>
                  <a:cubicBezTo>
                    <a:pt x="252" y="99"/>
                    <a:pt x="252" y="55"/>
                    <a:pt x="2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34" name="Group 37">
            <a:extLst>
              <a:ext uri="{FF2B5EF4-FFF2-40B4-BE49-F238E27FC236}">
                <a16:creationId xmlns:a16="http://schemas.microsoft.com/office/drawing/2014/main" id="{E44BE613-23D3-4D7B-8F18-6F28BFD81DF1}"/>
              </a:ext>
            </a:extLst>
          </p:cNvPr>
          <p:cNvGrpSpPr/>
          <p:nvPr/>
        </p:nvGrpSpPr>
        <p:grpSpPr>
          <a:xfrm flipV="1">
            <a:off x="6461674" y="3753866"/>
            <a:ext cx="712002" cy="664317"/>
            <a:chOff x="-636588" y="2038350"/>
            <a:chExt cx="4503739" cy="4202112"/>
          </a:xfrm>
          <a:solidFill>
            <a:schemeClr val="bg1"/>
          </a:solidFill>
          <a:effectLst>
            <a:outerShdw blurRad="25400" dist="38100" dir="8100000" algn="tr" rotWithShape="0">
              <a:prstClr val="black">
                <a:alpha val="12000"/>
              </a:prstClr>
            </a:outerShdw>
          </a:effectLst>
        </p:grpSpPr>
        <p:sp>
          <p:nvSpPr>
            <p:cNvPr id="35" name="Freeform 5">
              <a:extLst>
                <a:ext uri="{FF2B5EF4-FFF2-40B4-BE49-F238E27FC236}">
                  <a16:creationId xmlns:a16="http://schemas.microsoft.com/office/drawing/2014/main" id="{C0BACA98-F20E-4302-A32F-05476EC0D732}"/>
                </a:ext>
              </a:extLst>
            </p:cNvPr>
            <p:cNvSpPr>
              <a:spLocks noEditPoints="1"/>
            </p:cNvSpPr>
            <p:nvPr/>
          </p:nvSpPr>
          <p:spPr bwMode="auto">
            <a:xfrm>
              <a:off x="-636588" y="2038350"/>
              <a:ext cx="4503739" cy="4202112"/>
            </a:xfrm>
            <a:custGeom>
              <a:avLst/>
              <a:gdLst>
                <a:gd name="T0" fmla="*/ 2092 w 2092"/>
                <a:gd name="T1" fmla="*/ 911 h 1958"/>
                <a:gd name="T2" fmla="*/ 1477 w 2092"/>
                <a:gd name="T3" fmla="*/ 702 h 1958"/>
                <a:gd name="T4" fmla="*/ 1534 w 2092"/>
                <a:gd name="T5" fmla="*/ 279 h 1958"/>
                <a:gd name="T6" fmla="*/ 1186 w 2092"/>
                <a:gd name="T7" fmla="*/ 0 h 1958"/>
                <a:gd name="T8" fmla="*/ 1080 w 2092"/>
                <a:gd name="T9" fmla="*/ 205 h 1958"/>
                <a:gd name="T10" fmla="*/ 488 w 2092"/>
                <a:gd name="T11" fmla="*/ 562 h 1958"/>
                <a:gd name="T12" fmla="*/ 0 w 2092"/>
                <a:gd name="T13" fmla="*/ 632 h 1958"/>
                <a:gd name="T14" fmla="*/ 69 w 2092"/>
                <a:gd name="T15" fmla="*/ 1958 h 1958"/>
                <a:gd name="T16" fmla="*/ 677 w 2092"/>
                <a:gd name="T17" fmla="*/ 1838 h 1958"/>
                <a:gd name="T18" fmla="*/ 1159 w 2092"/>
                <a:gd name="T19" fmla="*/ 1958 h 1958"/>
                <a:gd name="T20" fmla="*/ 1953 w 2092"/>
                <a:gd name="T21" fmla="*/ 1748 h 1958"/>
                <a:gd name="T22" fmla="*/ 2092 w 2092"/>
                <a:gd name="T23" fmla="*/ 1469 h 1958"/>
                <a:gd name="T24" fmla="*/ 2092 w 2092"/>
                <a:gd name="T25" fmla="*/ 1190 h 1958"/>
                <a:gd name="T26" fmla="*/ 558 w 2092"/>
                <a:gd name="T27" fmla="*/ 1748 h 1958"/>
                <a:gd name="T28" fmla="*/ 139 w 2092"/>
                <a:gd name="T29" fmla="*/ 1818 h 1958"/>
                <a:gd name="T30" fmla="*/ 488 w 2092"/>
                <a:gd name="T31" fmla="*/ 702 h 1958"/>
                <a:gd name="T32" fmla="*/ 558 w 2092"/>
                <a:gd name="T33" fmla="*/ 1748 h 1958"/>
                <a:gd name="T34" fmla="*/ 1883 w 2092"/>
                <a:gd name="T35" fmla="*/ 1120 h 1958"/>
                <a:gd name="T36" fmla="*/ 1883 w 2092"/>
                <a:gd name="T37" fmla="*/ 1260 h 1958"/>
                <a:gd name="T38" fmla="*/ 1674 w 2092"/>
                <a:gd name="T39" fmla="*/ 1330 h 1958"/>
                <a:gd name="T40" fmla="*/ 1883 w 2092"/>
                <a:gd name="T41" fmla="*/ 1399 h 1958"/>
                <a:gd name="T42" fmla="*/ 1883 w 2092"/>
                <a:gd name="T43" fmla="*/ 1539 h 1958"/>
                <a:gd name="T44" fmla="*/ 1674 w 2092"/>
                <a:gd name="T45" fmla="*/ 1609 h 1958"/>
                <a:gd name="T46" fmla="*/ 1813 w 2092"/>
                <a:gd name="T47" fmla="*/ 1748 h 1958"/>
                <a:gd name="T48" fmla="*/ 1159 w 2092"/>
                <a:gd name="T49" fmla="*/ 1818 h 1958"/>
                <a:gd name="T50" fmla="*/ 697 w 2092"/>
                <a:gd name="T51" fmla="*/ 1698 h 1958"/>
                <a:gd name="T52" fmla="*/ 1010 w 2092"/>
                <a:gd name="T53" fmla="*/ 631 h 1958"/>
                <a:gd name="T54" fmla="*/ 1240 w 2092"/>
                <a:gd name="T55" fmla="*/ 139 h 1958"/>
                <a:gd name="T56" fmla="*/ 1395 w 2092"/>
                <a:gd name="T57" fmla="*/ 279 h 1958"/>
                <a:gd name="T58" fmla="*/ 1328 w 2092"/>
                <a:gd name="T59" fmla="*/ 702 h 1958"/>
                <a:gd name="T60" fmla="*/ 1116 w 2092"/>
                <a:gd name="T61" fmla="*/ 772 h 1958"/>
                <a:gd name="T62" fmla="*/ 1883 w 2092"/>
                <a:gd name="T63" fmla="*/ 841 h 1958"/>
                <a:gd name="T64" fmla="*/ 1883 w 2092"/>
                <a:gd name="T65" fmla="*/ 981 h 1958"/>
                <a:gd name="T66" fmla="*/ 1674 w 2092"/>
                <a:gd name="T67" fmla="*/ 1051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2" h="1958">
                  <a:moveTo>
                    <a:pt x="2039" y="1051"/>
                  </a:moveTo>
                  <a:cubicBezTo>
                    <a:pt x="2072" y="1014"/>
                    <a:pt x="2092" y="965"/>
                    <a:pt x="2092" y="911"/>
                  </a:cubicBezTo>
                  <a:cubicBezTo>
                    <a:pt x="2092" y="796"/>
                    <a:pt x="1998" y="702"/>
                    <a:pt x="1883" y="702"/>
                  </a:cubicBezTo>
                  <a:cubicBezTo>
                    <a:pt x="1477" y="702"/>
                    <a:pt x="1477" y="702"/>
                    <a:pt x="1477" y="702"/>
                  </a:cubicBezTo>
                  <a:cubicBezTo>
                    <a:pt x="1517" y="580"/>
                    <a:pt x="1534" y="418"/>
                    <a:pt x="1534" y="348"/>
                  </a:cubicBezTo>
                  <a:cubicBezTo>
                    <a:pt x="1534" y="279"/>
                    <a:pt x="1534" y="279"/>
                    <a:pt x="1534" y="279"/>
                  </a:cubicBezTo>
                  <a:cubicBezTo>
                    <a:pt x="1534" y="125"/>
                    <a:pt x="1409" y="0"/>
                    <a:pt x="1255" y="0"/>
                  </a:cubicBezTo>
                  <a:cubicBezTo>
                    <a:pt x="1186" y="0"/>
                    <a:pt x="1186" y="0"/>
                    <a:pt x="1186" y="0"/>
                  </a:cubicBezTo>
                  <a:cubicBezTo>
                    <a:pt x="1154" y="0"/>
                    <a:pt x="1126" y="21"/>
                    <a:pt x="1118" y="52"/>
                  </a:cubicBezTo>
                  <a:cubicBezTo>
                    <a:pt x="1080" y="205"/>
                    <a:pt x="1080" y="205"/>
                    <a:pt x="1080" y="205"/>
                  </a:cubicBezTo>
                  <a:cubicBezTo>
                    <a:pt x="1027" y="417"/>
                    <a:pt x="858" y="652"/>
                    <a:pt x="683" y="695"/>
                  </a:cubicBezTo>
                  <a:cubicBezTo>
                    <a:pt x="652" y="617"/>
                    <a:pt x="576" y="562"/>
                    <a:pt x="488" y="562"/>
                  </a:cubicBezTo>
                  <a:cubicBezTo>
                    <a:pt x="69" y="562"/>
                    <a:pt x="69" y="562"/>
                    <a:pt x="69" y="562"/>
                  </a:cubicBezTo>
                  <a:cubicBezTo>
                    <a:pt x="31" y="562"/>
                    <a:pt x="0" y="594"/>
                    <a:pt x="0" y="632"/>
                  </a:cubicBezTo>
                  <a:cubicBezTo>
                    <a:pt x="0" y="1888"/>
                    <a:pt x="0" y="1888"/>
                    <a:pt x="0" y="1888"/>
                  </a:cubicBezTo>
                  <a:cubicBezTo>
                    <a:pt x="0" y="1926"/>
                    <a:pt x="31" y="1958"/>
                    <a:pt x="69" y="1958"/>
                  </a:cubicBezTo>
                  <a:cubicBezTo>
                    <a:pt x="488" y="1958"/>
                    <a:pt x="488" y="1958"/>
                    <a:pt x="488" y="1958"/>
                  </a:cubicBezTo>
                  <a:cubicBezTo>
                    <a:pt x="571" y="1958"/>
                    <a:pt x="643" y="1909"/>
                    <a:pt x="677" y="1838"/>
                  </a:cubicBezTo>
                  <a:cubicBezTo>
                    <a:pt x="917" y="1918"/>
                    <a:pt x="917" y="1918"/>
                    <a:pt x="917" y="1918"/>
                  </a:cubicBezTo>
                  <a:cubicBezTo>
                    <a:pt x="995" y="1944"/>
                    <a:pt x="1077" y="1958"/>
                    <a:pt x="1159" y="1958"/>
                  </a:cubicBezTo>
                  <a:cubicBezTo>
                    <a:pt x="1744" y="1958"/>
                    <a:pt x="1744" y="1958"/>
                    <a:pt x="1744" y="1958"/>
                  </a:cubicBezTo>
                  <a:cubicBezTo>
                    <a:pt x="1859" y="1958"/>
                    <a:pt x="1953" y="1864"/>
                    <a:pt x="1953" y="1748"/>
                  </a:cubicBezTo>
                  <a:cubicBezTo>
                    <a:pt x="1953" y="1721"/>
                    <a:pt x="1948" y="1695"/>
                    <a:pt x="1938" y="1671"/>
                  </a:cubicBezTo>
                  <a:cubicBezTo>
                    <a:pt x="2027" y="1647"/>
                    <a:pt x="2092" y="1566"/>
                    <a:pt x="2092" y="1469"/>
                  </a:cubicBezTo>
                  <a:cubicBezTo>
                    <a:pt x="2092" y="1416"/>
                    <a:pt x="2072" y="1367"/>
                    <a:pt x="2039" y="1330"/>
                  </a:cubicBezTo>
                  <a:cubicBezTo>
                    <a:pt x="2072" y="1293"/>
                    <a:pt x="2092" y="1244"/>
                    <a:pt x="2092" y="1190"/>
                  </a:cubicBezTo>
                  <a:cubicBezTo>
                    <a:pt x="2092" y="1137"/>
                    <a:pt x="2072" y="1088"/>
                    <a:pt x="2039" y="1051"/>
                  </a:cubicBezTo>
                  <a:close/>
                  <a:moveTo>
                    <a:pt x="558" y="1748"/>
                  </a:moveTo>
                  <a:cubicBezTo>
                    <a:pt x="558" y="1787"/>
                    <a:pt x="526" y="1818"/>
                    <a:pt x="488" y="1818"/>
                  </a:cubicBezTo>
                  <a:cubicBezTo>
                    <a:pt x="139" y="1818"/>
                    <a:pt x="139" y="1818"/>
                    <a:pt x="139" y="1818"/>
                  </a:cubicBezTo>
                  <a:cubicBezTo>
                    <a:pt x="139" y="702"/>
                    <a:pt x="139" y="702"/>
                    <a:pt x="139" y="702"/>
                  </a:cubicBezTo>
                  <a:cubicBezTo>
                    <a:pt x="488" y="702"/>
                    <a:pt x="488" y="702"/>
                    <a:pt x="488" y="702"/>
                  </a:cubicBezTo>
                  <a:cubicBezTo>
                    <a:pt x="526" y="702"/>
                    <a:pt x="558" y="733"/>
                    <a:pt x="558" y="772"/>
                  </a:cubicBezTo>
                  <a:lnTo>
                    <a:pt x="558" y="1748"/>
                  </a:lnTo>
                  <a:close/>
                  <a:moveTo>
                    <a:pt x="1744" y="1120"/>
                  </a:moveTo>
                  <a:cubicBezTo>
                    <a:pt x="1883" y="1120"/>
                    <a:pt x="1883" y="1120"/>
                    <a:pt x="1883" y="1120"/>
                  </a:cubicBezTo>
                  <a:cubicBezTo>
                    <a:pt x="1922" y="1120"/>
                    <a:pt x="1953" y="1152"/>
                    <a:pt x="1953" y="1190"/>
                  </a:cubicBezTo>
                  <a:cubicBezTo>
                    <a:pt x="1953" y="1229"/>
                    <a:pt x="1922" y="1260"/>
                    <a:pt x="1883" y="1260"/>
                  </a:cubicBezTo>
                  <a:cubicBezTo>
                    <a:pt x="1744" y="1260"/>
                    <a:pt x="1744" y="1260"/>
                    <a:pt x="1744" y="1260"/>
                  </a:cubicBezTo>
                  <a:cubicBezTo>
                    <a:pt x="1705" y="1260"/>
                    <a:pt x="1674" y="1291"/>
                    <a:pt x="1674" y="1330"/>
                  </a:cubicBezTo>
                  <a:cubicBezTo>
                    <a:pt x="1674" y="1368"/>
                    <a:pt x="1705" y="1399"/>
                    <a:pt x="1744" y="1399"/>
                  </a:cubicBezTo>
                  <a:cubicBezTo>
                    <a:pt x="1883" y="1399"/>
                    <a:pt x="1883" y="1399"/>
                    <a:pt x="1883" y="1399"/>
                  </a:cubicBezTo>
                  <a:cubicBezTo>
                    <a:pt x="1922" y="1399"/>
                    <a:pt x="1953" y="1431"/>
                    <a:pt x="1953" y="1469"/>
                  </a:cubicBezTo>
                  <a:cubicBezTo>
                    <a:pt x="1953" y="1508"/>
                    <a:pt x="1922" y="1539"/>
                    <a:pt x="1883" y="1539"/>
                  </a:cubicBezTo>
                  <a:cubicBezTo>
                    <a:pt x="1744" y="1539"/>
                    <a:pt x="1744" y="1539"/>
                    <a:pt x="1744" y="1539"/>
                  </a:cubicBezTo>
                  <a:cubicBezTo>
                    <a:pt x="1705" y="1539"/>
                    <a:pt x="1674" y="1570"/>
                    <a:pt x="1674" y="1609"/>
                  </a:cubicBezTo>
                  <a:cubicBezTo>
                    <a:pt x="1674" y="1647"/>
                    <a:pt x="1705" y="1679"/>
                    <a:pt x="1744" y="1679"/>
                  </a:cubicBezTo>
                  <a:cubicBezTo>
                    <a:pt x="1782" y="1679"/>
                    <a:pt x="1813" y="1710"/>
                    <a:pt x="1813" y="1748"/>
                  </a:cubicBezTo>
                  <a:cubicBezTo>
                    <a:pt x="1813" y="1787"/>
                    <a:pt x="1782" y="1818"/>
                    <a:pt x="1744" y="1818"/>
                  </a:cubicBezTo>
                  <a:cubicBezTo>
                    <a:pt x="1159" y="1818"/>
                    <a:pt x="1159" y="1818"/>
                    <a:pt x="1159" y="1818"/>
                  </a:cubicBezTo>
                  <a:cubicBezTo>
                    <a:pt x="1092" y="1818"/>
                    <a:pt x="1025" y="1807"/>
                    <a:pt x="961" y="1786"/>
                  </a:cubicBezTo>
                  <a:cubicBezTo>
                    <a:pt x="697" y="1698"/>
                    <a:pt x="697" y="1698"/>
                    <a:pt x="697" y="1698"/>
                  </a:cubicBezTo>
                  <a:cubicBezTo>
                    <a:pt x="697" y="835"/>
                    <a:pt x="697" y="835"/>
                    <a:pt x="697" y="835"/>
                  </a:cubicBezTo>
                  <a:cubicBezTo>
                    <a:pt x="807" y="814"/>
                    <a:pt x="914" y="745"/>
                    <a:pt x="1010" y="631"/>
                  </a:cubicBezTo>
                  <a:cubicBezTo>
                    <a:pt x="1105" y="521"/>
                    <a:pt x="1181" y="374"/>
                    <a:pt x="1215" y="238"/>
                  </a:cubicBezTo>
                  <a:cubicBezTo>
                    <a:pt x="1240" y="139"/>
                    <a:pt x="1240" y="139"/>
                    <a:pt x="1240" y="139"/>
                  </a:cubicBezTo>
                  <a:cubicBezTo>
                    <a:pt x="1255" y="139"/>
                    <a:pt x="1255" y="139"/>
                    <a:pt x="1255" y="139"/>
                  </a:cubicBezTo>
                  <a:cubicBezTo>
                    <a:pt x="1332" y="139"/>
                    <a:pt x="1395" y="202"/>
                    <a:pt x="1395" y="279"/>
                  </a:cubicBezTo>
                  <a:cubicBezTo>
                    <a:pt x="1395" y="348"/>
                    <a:pt x="1395" y="348"/>
                    <a:pt x="1395" y="348"/>
                  </a:cubicBezTo>
                  <a:cubicBezTo>
                    <a:pt x="1395" y="442"/>
                    <a:pt x="1366" y="622"/>
                    <a:pt x="1328" y="702"/>
                  </a:cubicBezTo>
                  <a:cubicBezTo>
                    <a:pt x="1186" y="702"/>
                    <a:pt x="1186" y="702"/>
                    <a:pt x="1186" y="702"/>
                  </a:cubicBezTo>
                  <a:cubicBezTo>
                    <a:pt x="1147" y="702"/>
                    <a:pt x="1116" y="733"/>
                    <a:pt x="1116" y="772"/>
                  </a:cubicBezTo>
                  <a:cubicBezTo>
                    <a:pt x="1116" y="810"/>
                    <a:pt x="1147" y="841"/>
                    <a:pt x="1186" y="841"/>
                  </a:cubicBezTo>
                  <a:cubicBezTo>
                    <a:pt x="1883" y="841"/>
                    <a:pt x="1883" y="841"/>
                    <a:pt x="1883" y="841"/>
                  </a:cubicBezTo>
                  <a:cubicBezTo>
                    <a:pt x="1922" y="841"/>
                    <a:pt x="1953" y="873"/>
                    <a:pt x="1953" y="911"/>
                  </a:cubicBezTo>
                  <a:cubicBezTo>
                    <a:pt x="1953" y="950"/>
                    <a:pt x="1922" y="981"/>
                    <a:pt x="1883" y="981"/>
                  </a:cubicBezTo>
                  <a:cubicBezTo>
                    <a:pt x="1744" y="981"/>
                    <a:pt x="1744" y="981"/>
                    <a:pt x="1744" y="981"/>
                  </a:cubicBezTo>
                  <a:cubicBezTo>
                    <a:pt x="1705" y="981"/>
                    <a:pt x="1674" y="1012"/>
                    <a:pt x="1674" y="1051"/>
                  </a:cubicBezTo>
                  <a:cubicBezTo>
                    <a:pt x="1674" y="1089"/>
                    <a:pt x="1705" y="1120"/>
                    <a:pt x="1744" y="1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 name="Oval 6">
              <a:extLst>
                <a:ext uri="{FF2B5EF4-FFF2-40B4-BE49-F238E27FC236}">
                  <a16:creationId xmlns:a16="http://schemas.microsoft.com/office/drawing/2014/main" id="{21E43536-C8DB-4BA6-B63E-421E50DBCAF6}"/>
                </a:ext>
              </a:extLst>
            </p:cNvPr>
            <p:cNvSpPr>
              <a:spLocks noChangeArrowheads="1"/>
            </p:cNvSpPr>
            <p:nvPr/>
          </p:nvSpPr>
          <p:spPr bwMode="auto">
            <a:xfrm>
              <a:off x="-36513" y="5341938"/>
              <a:ext cx="300038" cy="3000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37" name="Group 80">
            <a:extLst>
              <a:ext uri="{FF2B5EF4-FFF2-40B4-BE49-F238E27FC236}">
                <a16:creationId xmlns:a16="http://schemas.microsoft.com/office/drawing/2014/main" id="{51AB28E4-D545-49B6-80E9-42B23719AA89}"/>
              </a:ext>
            </a:extLst>
          </p:cNvPr>
          <p:cNvGrpSpPr/>
          <p:nvPr/>
        </p:nvGrpSpPr>
        <p:grpSpPr>
          <a:xfrm>
            <a:off x="8256240" y="2560658"/>
            <a:ext cx="583660" cy="583660"/>
            <a:chOff x="8458233" y="2572971"/>
            <a:chExt cx="583660" cy="583660"/>
          </a:xfrm>
          <a:effectLst>
            <a:outerShdw blurRad="25400" dist="38100" dir="8100000" algn="tr" rotWithShape="0">
              <a:prstClr val="black">
                <a:alpha val="12000"/>
              </a:prstClr>
            </a:outerShdw>
          </a:effectLst>
        </p:grpSpPr>
        <p:sp>
          <p:nvSpPr>
            <p:cNvPr id="38" name="Oval 66">
              <a:extLst>
                <a:ext uri="{FF2B5EF4-FFF2-40B4-BE49-F238E27FC236}">
                  <a16:creationId xmlns:a16="http://schemas.microsoft.com/office/drawing/2014/main" id="{A56FE463-B1A1-4D48-9425-13685FE18002}"/>
                </a:ext>
              </a:extLst>
            </p:cNvPr>
            <p:cNvSpPr/>
            <p:nvPr/>
          </p:nvSpPr>
          <p:spPr>
            <a:xfrm>
              <a:off x="8458233" y="2572971"/>
              <a:ext cx="583660" cy="583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Freeform 13">
              <a:extLst>
                <a:ext uri="{FF2B5EF4-FFF2-40B4-BE49-F238E27FC236}">
                  <a16:creationId xmlns:a16="http://schemas.microsoft.com/office/drawing/2014/main" id="{013B2F27-2569-4CE0-AC7A-3CDC086CAE9F}"/>
                </a:ext>
              </a:extLst>
            </p:cNvPr>
            <p:cNvSpPr>
              <a:spLocks/>
            </p:cNvSpPr>
            <p:nvPr/>
          </p:nvSpPr>
          <p:spPr bwMode="auto">
            <a:xfrm>
              <a:off x="8658398" y="2773278"/>
              <a:ext cx="183330" cy="183046"/>
            </a:xfrm>
            <a:custGeom>
              <a:avLst/>
              <a:gdLst>
                <a:gd name="T0" fmla="*/ 1936 w 1936"/>
                <a:gd name="T1" fmla="*/ 193 h 1933"/>
                <a:gd name="T2" fmla="*/ 1742 w 1936"/>
                <a:gd name="T3" fmla="*/ 0 h 1933"/>
                <a:gd name="T4" fmla="*/ 968 w 1936"/>
                <a:gd name="T5" fmla="*/ 773 h 1933"/>
                <a:gd name="T6" fmla="*/ 194 w 1936"/>
                <a:gd name="T7" fmla="*/ 0 h 1933"/>
                <a:gd name="T8" fmla="*/ 0 w 1936"/>
                <a:gd name="T9" fmla="*/ 193 h 1933"/>
                <a:gd name="T10" fmla="*/ 774 w 1936"/>
                <a:gd name="T11" fmla="*/ 967 h 1933"/>
                <a:gd name="T12" fmla="*/ 0 w 1936"/>
                <a:gd name="T13" fmla="*/ 1740 h 1933"/>
                <a:gd name="T14" fmla="*/ 194 w 1936"/>
                <a:gd name="T15" fmla="*/ 1933 h 1933"/>
                <a:gd name="T16" fmla="*/ 968 w 1936"/>
                <a:gd name="T17" fmla="*/ 1159 h 1933"/>
                <a:gd name="T18" fmla="*/ 1742 w 1936"/>
                <a:gd name="T19" fmla="*/ 1933 h 1933"/>
                <a:gd name="T20" fmla="*/ 1936 w 1936"/>
                <a:gd name="T21" fmla="*/ 1740 h 1933"/>
                <a:gd name="T22" fmla="*/ 1162 w 1936"/>
                <a:gd name="T23" fmla="*/ 967 h 1933"/>
                <a:gd name="T24" fmla="*/ 1936 w 1936"/>
                <a:gd name="T25" fmla="*/ 19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6" h="1933">
                  <a:moveTo>
                    <a:pt x="1936" y="193"/>
                  </a:moveTo>
                  <a:lnTo>
                    <a:pt x="1742" y="0"/>
                  </a:lnTo>
                  <a:lnTo>
                    <a:pt x="968" y="773"/>
                  </a:lnTo>
                  <a:lnTo>
                    <a:pt x="194" y="0"/>
                  </a:lnTo>
                  <a:lnTo>
                    <a:pt x="0" y="193"/>
                  </a:lnTo>
                  <a:lnTo>
                    <a:pt x="774" y="967"/>
                  </a:lnTo>
                  <a:lnTo>
                    <a:pt x="0" y="1740"/>
                  </a:lnTo>
                  <a:lnTo>
                    <a:pt x="194" y="1933"/>
                  </a:lnTo>
                  <a:lnTo>
                    <a:pt x="968" y="1159"/>
                  </a:lnTo>
                  <a:lnTo>
                    <a:pt x="1742" y="1933"/>
                  </a:lnTo>
                  <a:lnTo>
                    <a:pt x="1936" y="1740"/>
                  </a:lnTo>
                  <a:lnTo>
                    <a:pt x="1162" y="967"/>
                  </a:lnTo>
                  <a:lnTo>
                    <a:pt x="1936" y="19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40" name="Group 82">
            <a:extLst>
              <a:ext uri="{FF2B5EF4-FFF2-40B4-BE49-F238E27FC236}">
                <a16:creationId xmlns:a16="http://schemas.microsoft.com/office/drawing/2014/main" id="{716764DB-EE97-4007-8CEE-6DEF44664C96}"/>
              </a:ext>
            </a:extLst>
          </p:cNvPr>
          <p:cNvGrpSpPr/>
          <p:nvPr/>
        </p:nvGrpSpPr>
        <p:grpSpPr>
          <a:xfrm>
            <a:off x="8256240" y="3396681"/>
            <a:ext cx="583660" cy="583660"/>
            <a:chOff x="8458233" y="2572971"/>
            <a:chExt cx="583660" cy="583660"/>
          </a:xfrm>
          <a:effectLst>
            <a:outerShdw blurRad="25400" dist="38100" dir="8100000" algn="tr" rotWithShape="0">
              <a:prstClr val="black">
                <a:alpha val="12000"/>
              </a:prstClr>
            </a:outerShdw>
          </a:effectLst>
        </p:grpSpPr>
        <p:sp>
          <p:nvSpPr>
            <p:cNvPr id="41" name="Oval 83">
              <a:extLst>
                <a:ext uri="{FF2B5EF4-FFF2-40B4-BE49-F238E27FC236}">
                  <a16:creationId xmlns:a16="http://schemas.microsoft.com/office/drawing/2014/main" id="{5697CCF9-6AC8-49B1-902F-B4108F6A92E2}"/>
                </a:ext>
              </a:extLst>
            </p:cNvPr>
            <p:cNvSpPr/>
            <p:nvPr/>
          </p:nvSpPr>
          <p:spPr>
            <a:xfrm>
              <a:off x="8458233" y="2572971"/>
              <a:ext cx="583660" cy="583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Freeform 13">
              <a:extLst>
                <a:ext uri="{FF2B5EF4-FFF2-40B4-BE49-F238E27FC236}">
                  <a16:creationId xmlns:a16="http://schemas.microsoft.com/office/drawing/2014/main" id="{8370121C-C24C-4E19-9801-1AAAD5BC4D1D}"/>
                </a:ext>
              </a:extLst>
            </p:cNvPr>
            <p:cNvSpPr>
              <a:spLocks/>
            </p:cNvSpPr>
            <p:nvPr/>
          </p:nvSpPr>
          <p:spPr bwMode="auto">
            <a:xfrm>
              <a:off x="8658398" y="2773278"/>
              <a:ext cx="183330" cy="183046"/>
            </a:xfrm>
            <a:custGeom>
              <a:avLst/>
              <a:gdLst>
                <a:gd name="T0" fmla="*/ 1936 w 1936"/>
                <a:gd name="T1" fmla="*/ 193 h 1933"/>
                <a:gd name="T2" fmla="*/ 1742 w 1936"/>
                <a:gd name="T3" fmla="*/ 0 h 1933"/>
                <a:gd name="T4" fmla="*/ 968 w 1936"/>
                <a:gd name="T5" fmla="*/ 773 h 1933"/>
                <a:gd name="T6" fmla="*/ 194 w 1936"/>
                <a:gd name="T7" fmla="*/ 0 h 1933"/>
                <a:gd name="T8" fmla="*/ 0 w 1936"/>
                <a:gd name="T9" fmla="*/ 193 h 1933"/>
                <a:gd name="T10" fmla="*/ 774 w 1936"/>
                <a:gd name="T11" fmla="*/ 967 h 1933"/>
                <a:gd name="T12" fmla="*/ 0 w 1936"/>
                <a:gd name="T13" fmla="*/ 1740 h 1933"/>
                <a:gd name="T14" fmla="*/ 194 w 1936"/>
                <a:gd name="T15" fmla="*/ 1933 h 1933"/>
                <a:gd name="T16" fmla="*/ 968 w 1936"/>
                <a:gd name="T17" fmla="*/ 1159 h 1933"/>
                <a:gd name="T18" fmla="*/ 1742 w 1936"/>
                <a:gd name="T19" fmla="*/ 1933 h 1933"/>
                <a:gd name="T20" fmla="*/ 1936 w 1936"/>
                <a:gd name="T21" fmla="*/ 1740 h 1933"/>
                <a:gd name="T22" fmla="*/ 1162 w 1936"/>
                <a:gd name="T23" fmla="*/ 967 h 1933"/>
                <a:gd name="T24" fmla="*/ 1936 w 1936"/>
                <a:gd name="T25" fmla="*/ 19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6" h="1933">
                  <a:moveTo>
                    <a:pt x="1936" y="193"/>
                  </a:moveTo>
                  <a:lnTo>
                    <a:pt x="1742" y="0"/>
                  </a:lnTo>
                  <a:lnTo>
                    <a:pt x="968" y="773"/>
                  </a:lnTo>
                  <a:lnTo>
                    <a:pt x="194" y="0"/>
                  </a:lnTo>
                  <a:lnTo>
                    <a:pt x="0" y="193"/>
                  </a:lnTo>
                  <a:lnTo>
                    <a:pt x="774" y="967"/>
                  </a:lnTo>
                  <a:lnTo>
                    <a:pt x="0" y="1740"/>
                  </a:lnTo>
                  <a:lnTo>
                    <a:pt x="194" y="1933"/>
                  </a:lnTo>
                  <a:lnTo>
                    <a:pt x="968" y="1159"/>
                  </a:lnTo>
                  <a:lnTo>
                    <a:pt x="1742" y="1933"/>
                  </a:lnTo>
                  <a:lnTo>
                    <a:pt x="1936" y="1740"/>
                  </a:lnTo>
                  <a:lnTo>
                    <a:pt x="1162" y="967"/>
                  </a:lnTo>
                  <a:lnTo>
                    <a:pt x="1936" y="19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43" name="Group 88">
            <a:extLst>
              <a:ext uri="{FF2B5EF4-FFF2-40B4-BE49-F238E27FC236}">
                <a16:creationId xmlns:a16="http://schemas.microsoft.com/office/drawing/2014/main" id="{DBDCC1F4-29A8-49A3-959D-21FAB3B61F7B}"/>
              </a:ext>
            </a:extLst>
          </p:cNvPr>
          <p:cNvGrpSpPr/>
          <p:nvPr/>
        </p:nvGrpSpPr>
        <p:grpSpPr>
          <a:xfrm>
            <a:off x="8256240" y="4231736"/>
            <a:ext cx="583660" cy="583660"/>
            <a:chOff x="8458233" y="2572971"/>
            <a:chExt cx="583660" cy="583660"/>
          </a:xfrm>
          <a:effectLst>
            <a:outerShdw blurRad="25400" dist="38100" dir="8100000" algn="tr" rotWithShape="0">
              <a:prstClr val="black">
                <a:alpha val="12000"/>
              </a:prstClr>
            </a:outerShdw>
          </a:effectLst>
        </p:grpSpPr>
        <p:sp>
          <p:nvSpPr>
            <p:cNvPr id="44" name="Oval 89">
              <a:extLst>
                <a:ext uri="{FF2B5EF4-FFF2-40B4-BE49-F238E27FC236}">
                  <a16:creationId xmlns:a16="http://schemas.microsoft.com/office/drawing/2014/main" id="{EEB368C3-D63B-439D-98F7-5323D9343172}"/>
                </a:ext>
              </a:extLst>
            </p:cNvPr>
            <p:cNvSpPr/>
            <p:nvPr/>
          </p:nvSpPr>
          <p:spPr>
            <a:xfrm>
              <a:off x="8458233" y="2572971"/>
              <a:ext cx="583660" cy="583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5" name="Freeform 13">
              <a:extLst>
                <a:ext uri="{FF2B5EF4-FFF2-40B4-BE49-F238E27FC236}">
                  <a16:creationId xmlns:a16="http://schemas.microsoft.com/office/drawing/2014/main" id="{B60D9D86-EDD2-4F02-BF69-AE97858571DE}"/>
                </a:ext>
              </a:extLst>
            </p:cNvPr>
            <p:cNvSpPr>
              <a:spLocks/>
            </p:cNvSpPr>
            <p:nvPr/>
          </p:nvSpPr>
          <p:spPr bwMode="auto">
            <a:xfrm>
              <a:off x="8658398" y="2773278"/>
              <a:ext cx="183330" cy="183046"/>
            </a:xfrm>
            <a:custGeom>
              <a:avLst/>
              <a:gdLst>
                <a:gd name="T0" fmla="*/ 1936 w 1936"/>
                <a:gd name="T1" fmla="*/ 193 h 1933"/>
                <a:gd name="T2" fmla="*/ 1742 w 1936"/>
                <a:gd name="T3" fmla="*/ 0 h 1933"/>
                <a:gd name="T4" fmla="*/ 968 w 1936"/>
                <a:gd name="T5" fmla="*/ 773 h 1933"/>
                <a:gd name="T6" fmla="*/ 194 w 1936"/>
                <a:gd name="T7" fmla="*/ 0 h 1933"/>
                <a:gd name="T8" fmla="*/ 0 w 1936"/>
                <a:gd name="T9" fmla="*/ 193 h 1933"/>
                <a:gd name="T10" fmla="*/ 774 w 1936"/>
                <a:gd name="T11" fmla="*/ 967 h 1933"/>
                <a:gd name="T12" fmla="*/ 0 w 1936"/>
                <a:gd name="T13" fmla="*/ 1740 h 1933"/>
                <a:gd name="T14" fmla="*/ 194 w 1936"/>
                <a:gd name="T15" fmla="*/ 1933 h 1933"/>
                <a:gd name="T16" fmla="*/ 968 w 1936"/>
                <a:gd name="T17" fmla="*/ 1159 h 1933"/>
                <a:gd name="T18" fmla="*/ 1742 w 1936"/>
                <a:gd name="T19" fmla="*/ 1933 h 1933"/>
                <a:gd name="T20" fmla="*/ 1936 w 1936"/>
                <a:gd name="T21" fmla="*/ 1740 h 1933"/>
                <a:gd name="T22" fmla="*/ 1162 w 1936"/>
                <a:gd name="T23" fmla="*/ 967 h 1933"/>
                <a:gd name="T24" fmla="*/ 1936 w 1936"/>
                <a:gd name="T25" fmla="*/ 19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6" h="1933">
                  <a:moveTo>
                    <a:pt x="1936" y="193"/>
                  </a:moveTo>
                  <a:lnTo>
                    <a:pt x="1742" y="0"/>
                  </a:lnTo>
                  <a:lnTo>
                    <a:pt x="968" y="773"/>
                  </a:lnTo>
                  <a:lnTo>
                    <a:pt x="194" y="0"/>
                  </a:lnTo>
                  <a:lnTo>
                    <a:pt x="0" y="193"/>
                  </a:lnTo>
                  <a:lnTo>
                    <a:pt x="774" y="967"/>
                  </a:lnTo>
                  <a:lnTo>
                    <a:pt x="0" y="1740"/>
                  </a:lnTo>
                  <a:lnTo>
                    <a:pt x="194" y="1933"/>
                  </a:lnTo>
                  <a:lnTo>
                    <a:pt x="968" y="1159"/>
                  </a:lnTo>
                  <a:lnTo>
                    <a:pt x="1742" y="1933"/>
                  </a:lnTo>
                  <a:lnTo>
                    <a:pt x="1936" y="1740"/>
                  </a:lnTo>
                  <a:lnTo>
                    <a:pt x="1162" y="967"/>
                  </a:lnTo>
                  <a:lnTo>
                    <a:pt x="1936" y="19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46" name="Group 94">
            <a:extLst>
              <a:ext uri="{FF2B5EF4-FFF2-40B4-BE49-F238E27FC236}">
                <a16:creationId xmlns:a16="http://schemas.microsoft.com/office/drawing/2014/main" id="{CD4B776E-D809-4C6B-977D-C5605199E245}"/>
              </a:ext>
            </a:extLst>
          </p:cNvPr>
          <p:cNvGrpSpPr/>
          <p:nvPr/>
        </p:nvGrpSpPr>
        <p:grpSpPr>
          <a:xfrm>
            <a:off x="8256240" y="5068726"/>
            <a:ext cx="583660" cy="583660"/>
            <a:chOff x="8458233" y="2572971"/>
            <a:chExt cx="583660" cy="583660"/>
          </a:xfrm>
          <a:effectLst>
            <a:outerShdw blurRad="25400" dist="38100" dir="8100000" algn="tr" rotWithShape="0">
              <a:prstClr val="black">
                <a:alpha val="12000"/>
              </a:prstClr>
            </a:outerShdw>
          </a:effectLst>
        </p:grpSpPr>
        <p:sp>
          <p:nvSpPr>
            <p:cNvPr id="47" name="Oval 95">
              <a:extLst>
                <a:ext uri="{FF2B5EF4-FFF2-40B4-BE49-F238E27FC236}">
                  <a16:creationId xmlns:a16="http://schemas.microsoft.com/office/drawing/2014/main" id="{5DBE2460-1054-45AB-B541-CD194AAB1E91}"/>
                </a:ext>
              </a:extLst>
            </p:cNvPr>
            <p:cNvSpPr/>
            <p:nvPr/>
          </p:nvSpPr>
          <p:spPr>
            <a:xfrm>
              <a:off x="8458233" y="2572971"/>
              <a:ext cx="583660" cy="583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8" name="Freeform 13">
              <a:extLst>
                <a:ext uri="{FF2B5EF4-FFF2-40B4-BE49-F238E27FC236}">
                  <a16:creationId xmlns:a16="http://schemas.microsoft.com/office/drawing/2014/main" id="{BBD771CE-4AD2-4578-9BDB-30D5DF57F797}"/>
                </a:ext>
              </a:extLst>
            </p:cNvPr>
            <p:cNvSpPr>
              <a:spLocks/>
            </p:cNvSpPr>
            <p:nvPr/>
          </p:nvSpPr>
          <p:spPr bwMode="auto">
            <a:xfrm>
              <a:off x="8658398" y="2773278"/>
              <a:ext cx="183330" cy="183046"/>
            </a:xfrm>
            <a:custGeom>
              <a:avLst/>
              <a:gdLst>
                <a:gd name="T0" fmla="*/ 1936 w 1936"/>
                <a:gd name="T1" fmla="*/ 193 h 1933"/>
                <a:gd name="T2" fmla="*/ 1742 w 1936"/>
                <a:gd name="T3" fmla="*/ 0 h 1933"/>
                <a:gd name="T4" fmla="*/ 968 w 1936"/>
                <a:gd name="T5" fmla="*/ 773 h 1933"/>
                <a:gd name="T6" fmla="*/ 194 w 1936"/>
                <a:gd name="T7" fmla="*/ 0 h 1933"/>
                <a:gd name="T8" fmla="*/ 0 w 1936"/>
                <a:gd name="T9" fmla="*/ 193 h 1933"/>
                <a:gd name="T10" fmla="*/ 774 w 1936"/>
                <a:gd name="T11" fmla="*/ 967 h 1933"/>
                <a:gd name="T12" fmla="*/ 0 w 1936"/>
                <a:gd name="T13" fmla="*/ 1740 h 1933"/>
                <a:gd name="T14" fmla="*/ 194 w 1936"/>
                <a:gd name="T15" fmla="*/ 1933 h 1933"/>
                <a:gd name="T16" fmla="*/ 968 w 1936"/>
                <a:gd name="T17" fmla="*/ 1159 h 1933"/>
                <a:gd name="T18" fmla="*/ 1742 w 1936"/>
                <a:gd name="T19" fmla="*/ 1933 h 1933"/>
                <a:gd name="T20" fmla="*/ 1936 w 1936"/>
                <a:gd name="T21" fmla="*/ 1740 h 1933"/>
                <a:gd name="T22" fmla="*/ 1162 w 1936"/>
                <a:gd name="T23" fmla="*/ 967 h 1933"/>
                <a:gd name="T24" fmla="*/ 1936 w 1936"/>
                <a:gd name="T25" fmla="*/ 19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6" h="1933">
                  <a:moveTo>
                    <a:pt x="1936" y="193"/>
                  </a:moveTo>
                  <a:lnTo>
                    <a:pt x="1742" y="0"/>
                  </a:lnTo>
                  <a:lnTo>
                    <a:pt x="968" y="773"/>
                  </a:lnTo>
                  <a:lnTo>
                    <a:pt x="194" y="0"/>
                  </a:lnTo>
                  <a:lnTo>
                    <a:pt x="0" y="193"/>
                  </a:lnTo>
                  <a:lnTo>
                    <a:pt x="774" y="967"/>
                  </a:lnTo>
                  <a:lnTo>
                    <a:pt x="0" y="1740"/>
                  </a:lnTo>
                  <a:lnTo>
                    <a:pt x="194" y="1933"/>
                  </a:lnTo>
                  <a:lnTo>
                    <a:pt x="968" y="1159"/>
                  </a:lnTo>
                  <a:lnTo>
                    <a:pt x="1742" y="1933"/>
                  </a:lnTo>
                  <a:lnTo>
                    <a:pt x="1936" y="1740"/>
                  </a:lnTo>
                  <a:lnTo>
                    <a:pt x="1162" y="967"/>
                  </a:lnTo>
                  <a:lnTo>
                    <a:pt x="1936" y="19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49" name="Group 81">
            <a:extLst>
              <a:ext uri="{FF2B5EF4-FFF2-40B4-BE49-F238E27FC236}">
                <a16:creationId xmlns:a16="http://schemas.microsoft.com/office/drawing/2014/main" id="{248FBC20-C84C-4F92-82E1-5E741348BB3B}"/>
              </a:ext>
            </a:extLst>
          </p:cNvPr>
          <p:cNvGrpSpPr/>
          <p:nvPr/>
        </p:nvGrpSpPr>
        <p:grpSpPr>
          <a:xfrm>
            <a:off x="3352100" y="2560658"/>
            <a:ext cx="583660" cy="583660"/>
            <a:chOff x="3146931" y="2572971"/>
            <a:chExt cx="583660" cy="583660"/>
          </a:xfrm>
          <a:effectLst>
            <a:outerShdw blurRad="25400" dist="38100" dir="8100000" algn="tr" rotWithShape="0">
              <a:prstClr val="black">
                <a:alpha val="12000"/>
              </a:prstClr>
            </a:outerShdw>
          </a:effectLst>
        </p:grpSpPr>
        <p:sp>
          <p:nvSpPr>
            <p:cNvPr id="50" name="Oval 55">
              <a:extLst>
                <a:ext uri="{FF2B5EF4-FFF2-40B4-BE49-F238E27FC236}">
                  <a16:creationId xmlns:a16="http://schemas.microsoft.com/office/drawing/2014/main" id="{D3C0E5CA-CA1B-4C9A-8240-56951C0C752C}"/>
                </a:ext>
              </a:extLst>
            </p:cNvPr>
            <p:cNvSpPr/>
            <p:nvPr/>
          </p:nvSpPr>
          <p:spPr>
            <a:xfrm>
              <a:off x="3146931" y="2572971"/>
              <a:ext cx="583660" cy="583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Freeform 18">
              <a:extLst>
                <a:ext uri="{FF2B5EF4-FFF2-40B4-BE49-F238E27FC236}">
                  <a16:creationId xmlns:a16="http://schemas.microsoft.com/office/drawing/2014/main" id="{84AB8A12-D9C6-4217-94C7-2E6B43EB99BC}"/>
                </a:ext>
              </a:extLst>
            </p:cNvPr>
            <p:cNvSpPr>
              <a:spLocks/>
            </p:cNvSpPr>
            <p:nvPr/>
          </p:nvSpPr>
          <p:spPr bwMode="auto">
            <a:xfrm>
              <a:off x="3311856" y="2768372"/>
              <a:ext cx="253811" cy="192859"/>
            </a:xfrm>
            <a:custGeom>
              <a:avLst/>
              <a:gdLst>
                <a:gd name="T0" fmla="*/ 776 w 2436"/>
                <a:gd name="T1" fmla="*/ 1465 h 1851"/>
                <a:gd name="T2" fmla="*/ 194 w 2436"/>
                <a:gd name="T3" fmla="*/ 884 h 1851"/>
                <a:gd name="T4" fmla="*/ 0 w 2436"/>
                <a:gd name="T5" fmla="*/ 1078 h 1851"/>
                <a:gd name="T6" fmla="*/ 776 w 2436"/>
                <a:gd name="T7" fmla="*/ 1851 h 1851"/>
                <a:gd name="T8" fmla="*/ 2436 w 2436"/>
                <a:gd name="T9" fmla="*/ 194 h 1851"/>
                <a:gd name="T10" fmla="*/ 2242 w 2436"/>
                <a:gd name="T11" fmla="*/ 0 h 1851"/>
                <a:gd name="T12" fmla="*/ 776 w 2436"/>
                <a:gd name="T13" fmla="*/ 1465 h 1851"/>
              </a:gdLst>
              <a:ahLst/>
              <a:cxnLst>
                <a:cxn ang="0">
                  <a:pos x="T0" y="T1"/>
                </a:cxn>
                <a:cxn ang="0">
                  <a:pos x="T2" y="T3"/>
                </a:cxn>
                <a:cxn ang="0">
                  <a:pos x="T4" y="T5"/>
                </a:cxn>
                <a:cxn ang="0">
                  <a:pos x="T6" y="T7"/>
                </a:cxn>
                <a:cxn ang="0">
                  <a:pos x="T8" y="T9"/>
                </a:cxn>
                <a:cxn ang="0">
                  <a:pos x="T10" y="T11"/>
                </a:cxn>
                <a:cxn ang="0">
                  <a:pos x="T12" y="T13"/>
                </a:cxn>
              </a:cxnLst>
              <a:rect l="0" t="0" r="r" b="b"/>
              <a:pathLst>
                <a:path w="2436" h="1851">
                  <a:moveTo>
                    <a:pt x="776" y="1465"/>
                  </a:moveTo>
                  <a:lnTo>
                    <a:pt x="194" y="884"/>
                  </a:lnTo>
                  <a:lnTo>
                    <a:pt x="0" y="1078"/>
                  </a:lnTo>
                  <a:lnTo>
                    <a:pt x="776" y="1851"/>
                  </a:lnTo>
                  <a:lnTo>
                    <a:pt x="2436" y="194"/>
                  </a:lnTo>
                  <a:lnTo>
                    <a:pt x="2242" y="0"/>
                  </a:lnTo>
                  <a:lnTo>
                    <a:pt x="776" y="146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52" name="Group 85">
            <a:extLst>
              <a:ext uri="{FF2B5EF4-FFF2-40B4-BE49-F238E27FC236}">
                <a16:creationId xmlns:a16="http://schemas.microsoft.com/office/drawing/2014/main" id="{A992A74F-F9ED-4B4D-94E7-952103DBE44F}"/>
              </a:ext>
            </a:extLst>
          </p:cNvPr>
          <p:cNvGrpSpPr/>
          <p:nvPr/>
        </p:nvGrpSpPr>
        <p:grpSpPr>
          <a:xfrm>
            <a:off x="3352100" y="3396681"/>
            <a:ext cx="583660" cy="583660"/>
            <a:chOff x="3146931" y="2572971"/>
            <a:chExt cx="583660" cy="583660"/>
          </a:xfrm>
          <a:effectLst>
            <a:outerShdw blurRad="25400" dist="38100" dir="8100000" algn="tr" rotWithShape="0">
              <a:prstClr val="black">
                <a:alpha val="12000"/>
              </a:prstClr>
            </a:outerShdw>
          </a:effectLst>
        </p:grpSpPr>
        <p:sp>
          <p:nvSpPr>
            <p:cNvPr id="53" name="Oval 86">
              <a:extLst>
                <a:ext uri="{FF2B5EF4-FFF2-40B4-BE49-F238E27FC236}">
                  <a16:creationId xmlns:a16="http://schemas.microsoft.com/office/drawing/2014/main" id="{C806B235-6202-40ED-A40D-1CFF75565F5F}"/>
                </a:ext>
              </a:extLst>
            </p:cNvPr>
            <p:cNvSpPr/>
            <p:nvPr/>
          </p:nvSpPr>
          <p:spPr>
            <a:xfrm>
              <a:off x="3146931" y="2572971"/>
              <a:ext cx="583660" cy="583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Freeform 18">
              <a:extLst>
                <a:ext uri="{FF2B5EF4-FFF2-40B4-BE49-F238E27FC236}">
                  <a16:creationId xmlns:a16="http://schemas.microsoft.com/office/drawing/2014/main" id="{A6D395BC-6306-4AE0-A2FE-04BC5430198D}"/>
                </a:ext>
              </a:extLst>
            </p:cNvPr>
            <p:cNvSpPr>
              <a:spLocks/>
            </p:cNvSpPr>
            <p:nvPr/>
          </p:nvSpPr>
          <p:spPr bwMode="auto">
            <a:xfrm>
              <a:off x="3311856" y="2768372"/>
              <a:ext cx="253811" cy="192859"/>
            </a:xfrm>
            <a:custGeom>
              <a:avLst/>
              <a:gdLst>
                <a:gd name="T0" fmla="*/ 776 w 2436"/>
                <a:gd name="T1" fmla="*/ 1465 h 1851"/>
                <a:gd name="T2" fmla="*/ 194 w 2436"/>
                <a:gd name="T3" fmla="*/ 884 h 1851"/>
                <a:gd name="T4" fmla="*/ 0 w 2436"/>
                <a:gd name="T5" fmla="*/ 1078 h 1851"/>
                <a:gd name="T6" fmla="*/ 776 w 2436"/>
                <a:gd name="T7" fmla="*/ 1851 h 1851"/>
                <a:gd name="T8" fmla="*/ 2436 w 2436"/>
                <a:gd name="T9" fmla="*/ 194 h 1851"/>
                <a:gd name="T10" fmla="*/ 2242 w 2436"/>
                <a:gd name="T11" fmla="*/ 0 h 1851"/>
                <a:gd name="T12" fmla="*/ 776 w 2436"/>
                <a:gd name="T13" fmla="*/ 1465 h 1851"/>
              </a:gdLst>
              <a:ahLst/>
              <a:cxnLst>
                <a:cxn ang="0">
                  <a:pos x="T0" y="T1"/>
                </a:cxn>
                <a:cxn ang="0">
                  <a:pos x="T2" y="T3"/>
                </a:cxn>
                <a:cxn ang="0">
                  <a:pos x="T4" y="T5"/>
                </a:cxn>
                <a:cxn ang="0">
                  <a:pos x="T6" y="T7"/>
                </a:cxn>
                <a:cxn ang="0">
                  <a:pos x="T8" y="T9"/>
                </a:cxn>
                <a:cxn ang="0">
                  <a:pos x="T10" y="T11"/>
                </a:cxn>
                <a:cxn ang="0">
                  <a:pos x="T12" y="T13"/>
                </a:cxn>
              </a:cxnLst>
              <a:rect l="0" t="0" r="r" b="b"/>
              <a:pathLst>
                <a:path w="2436" h="1851">
                  <a:moveTo>
                    <a:pt x="776" y="1465"/>
                  </a:moveTo>
                  <a:lnTo>
                    <a:pt x="194" y="884"/>
                  </a:lnTo>
                  <a:lnTo>
                    <a:pt x="0" y="1078"/>
                  </a:lnTo>
                  <a:lnTo>
                    <a:pt x="776" y="1851"/>
                  </a:lnTo>
                  <a:lnTo>
                    <a:pt x="2436" y="194"/>
                  </a:lnTo>
                  <a:lnTo>
                    <a:pt x="2242" y="0"/>
                  </a:lnTo>
                  <a:lnTo>
                    <a:pt x="776" y="146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55" name="Group 91">
            <a:extLst>
              <a:ext uri="{FF2B5EF4-FFF2-40B4-BE49-F238E27FC236}">
                <a16:creationId xmlns:a16="http://schemas.microsoft.com/office/drawing/2014/main" id="{1E3D431A-FCD3-4514-84CF-BC137F62AB22}"/>
              </a:ext>
            </a:extLst>
          </p:cNvPr>
          <p:cNvGrpSpPr/>
          <p:nvPr/>
        </p:nvGrpSpPr>
        <p:grpSpPr>
          <a:xfrm>
            <a:off x="3352100" y="4232704"/>
            <a:ext cx="583660" cy="583660"/>
            <a:chOff x="3146931" y="2572971"/>
            <a:chExt cx="583660" cy="583660"/>
          </a:xfrm>
          <a:effectLst>
            <a:outerShdw blurRad="25400" dist="38100" dir="8100000" algn="tr" rotWithShape="0">
              <a:prstClr val="black">
                <a:alpha val="12000"/>
              </a:prstClr>
            </a:outerShdw>
          </a:effectLst>
        </p:grpSpPr>
        <p:sp>
          <p:nvSpPr>
            <p:cNvPr id="56" name="Oval 92">
              <a:extLst>
                <a:ext uri="{FF2B5EF4-FFF2-40B4-BE49-F238E27FC236}">
                  <a16:creationId xmlns:a16="http://schemas.microsoft.com/office/drawing/2014/main" id="{95B02B92-03F0-40CB-80A5-6AF1D63DBDD9}"/>
                </a:ext>
              </a:extLst>
            </p:cNvPr>
            <p:cNvSpPr/>
            <p:nvPr/>
          </p:nvSpPr>
          <p:spPr>
            <a:xfrm>
              <a:off x="3146931" y="2572971"/>
              <a:ext cx="583660" cy="583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7" name="Freeform 18">
              <a:extLst>
                <a:ext uri="{FF2B5EF4-FFF2-40B4-BE49-F238E27FC236}">
                  <a16:creationId xmlns:a16="http://schemas.microsoft.com/office/drawing/2014/main" id="{FD43F6A6-0CC2-463A-9DC3-B93627CED5D9}"/>
                </a:ext>
              </a:extLst>
            </p:cNvPr>
            <p:cNvSpPr>
              <a:spLocks/>
            </p:cNvSpPr>
            <p:nvPr/>
          </p:nvSpPr>
          <p:spPr bwMode="auto">
            <a:xfrm>
              <a:off x="3311856" y="2768372"/>
              <a:ext cx="253811" cy="192859"/>
            </a:xfrm>
            <a:custGeom>
              <a:avLst/>
              <a:gdLst>
                <a:gd name="T0" fmla="*/ 776 w 2436"/>
                <a:gd name="T1" fmla="*/ 1465 h 1851"/>
                <a:gd name="T2" fmla="*/ 194 w 2436"/>
                <a:gd name="T3" fmla="*/ 884 h 1851"/>
                <a:gd name="T4" fmla="*/ 0 w 2436"/>
                <a:gd name="T5" fmla="*/ 1078 h 1851"/>
                <a:gd name="T6" fmla="*/ 776 w 2436"/>
                <a:gd name="T7" fmla="*/ 1851 h 1851"/>
                <a:gd name="T8" fmla="*/ 2436 w 2436"/>
                <a:gd name="T9" fmla="*/ 194 h 1851"/>
                <a:gd name="T10" fmla="*/ 2242 w 2436"/>
                <a:gd name="T11" fmla="*/ 0 h 1851"/>
                <a:gd name="T12" fmla="*/ 776 w 2436"/>
                <a:gd name="T13" fmla="*/ 1465 h 1851"/>
              </a:gdLst>
              <a:ahLst/>
              <a:cxnLst>
                <a:cxn ang="0">
                  <a:pos x="T0" y="T1"/>
                </a:cxn>
                <a:cxn ang="0">
                  <a:pos x="T2" y="T3"/>
                </a:cxn>
                <a:cxn ang="0">
                  <a:pos x="T4" y="T5"/>
                </a:cxn>
                <a:cxn ang="0">
                  <a:pos x="T6" y="T7"/>
                </a:cxn>
                <a:cxn ang="0">
                  <a:pos x="T8" y="T9"/>
                </a:cxn>
                <a:cxn ang="0">
                  <a:pos x="T10" y="T11"/>
                </a:cxn>
                <a:cxn ang="0">
                  <a:pos x="T12" y="T13"/>
                </a:cxn>
              </a:cxnLst>
              <a:rect l="0" t="0" r="r" b="b"/>
              <a:pathLst>
                <a:path w="2436" h="1851">
                  <a:moveTo>
                    <a:pt x="776" y="1465"/>
                  </a:moveTo>
                  <a:lnTo>
                    <a:pt x="194" y="884"/>
                  </a:lnTo>
                  <a:lnTo>
                    <a:pt x="0" y="1078"/>
                  </a:lnTo>
                  <a:lnTo>
                    <a:pt x="776" y="1851"/>
                  </a:lnTo>
                  <a:lnTo>
                    <a:pt x="2436" y="194"/>
                  </a:lnTo>
                  <a:lnTo>
                    <a:pt x="2242" y="0"/>
                  </a:lnTo>
                  <a:lnTo>
                    <a:pt x="776" y="146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58" name="Group 97">
            <a:extLst>
              <a:ext uri="{FF2B5EF4-FFF2-40B4-BE49-F238E27FC236}">
                <a16:creationId xmlns:a16="http://schemas.microsoft.com/office/drawing/2014/main" id="{1532B5B0-A52F-40DE-B781-EB455A50A6FD}"/>
              </a:ext>
            </a:extLst>
          </p:cNvPr>
          <p:cNvGrpSpPr/>
          <p:nvPr/>
        </p:nvGrpSpPr>
        <p:grpSpPr>
          <a:xfrm>
            <a:off x="3352100" y="5068726"/>
            <a:ext cx="583660" cy="583660"/>
            <a:chOff x="3146931" y="2572971"/>
            <a:chExt cx="583660" cy="583660"/>
          </a:xfrm>
          <a:effectLst>
            <a:outerShdw blurRad="25400" dist="38100" dir="8100000" algn="tr" rotWithShape="0">
              <a:prstClr val="black">
                <a:alpha val="12000"/>
              </a:prstClr>
            </a:outerShdw>
          </a:effectLst>
        </p:grpSpPr>
        <p:sp>
          <p:nvSpPr>
            <p:cNvPr id="59" name="Oval 98">
              <a:extLst>
                <a:ext uri="{FF2B5EF4-FFF2-40B4-BE49-F238E27FC236}">
                  <a16:creationId xmlns:a16="http://schemas.microsoft.com/office/drawing/2014/main" id="{217603E9-B671-43DE-B4DF-7290D742DF22}"/>
                </a:ext>
              </a:extLst>
            </p:cNvPr>
            <p:cNvSpPr/>
            <p:nvPr/>
          </p:nvSpPr>
          <p:spPr>
            <a:xfrm>
              <a:off x="3146931" y="2572971"/>
              <a:ext cx="583660" cy="583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Freeform 18">
              <a:extLst>
                <a:ext uri="{FF2B5EF4-FFF2-40B4-BE49-F238E27FC236}">
                  <a16:creationId xmlns:a16="http://schemas.microsoft.com/office/drawing/2014/main" id="{95907415-F7FB-4B8D-8C91-647CC6F64C50}"/>
                </a:ext>
              </a:extLst>
            </p:cNvPr>
            <p:cNvSpPr>
              <a:spLocks/>
            </p:cNvSpPr>
            <p:nvPr/>
          </p:nvSpPr>
          <p:spPr bwMode="auto">
            <a:xfrm>
              <a:off x="3311856" y="2768372"/>
              <a:ext cx="253811" cy="192859"/>
            </a:xfrm>
            <a:custGeom>
              <a:avLst/>
              <a:gdLst>
                <a:gd name="T0" fmla="*/ 776 w 2436"/>
                <a:gd name="T1" fmla="*/ 1465 h 1851"/>
                <a:gd name="T2" fmla="*/ 194 w 2436"/>
                <a:gd name="T3" fmla="*/ 884 h 1851"/>
                <a:gd name="T4" fmla="*/ 0 w 2436"/>
                <a:gd name="T5" fmla="*/ 1078 h 1851"/>
                <a:gd name="T6" fmla="*/ 776 w 2436"/>
                <a:gd name="T7" fmla="*/ 1851 h 1851"/>
                <a:gd name="T8" fmla="*/ 2436 w 2436"/>
                <a:gd name="T9" fmla="*/ 194 h 1851"/>
                <a:gd name="T10" fmla="*/ 2242 w 2436"/>
                <a:gd name="T11" fmla="*/ 0 h 1851"/>
                <a:gd name="T12" fmla="*/ 776 w 2436"/>
                <a:gd name="T13" fmla="*/ 1465 h 1851"/>
              </a:gdLst>
              <a:ahLst/>
              <a:cxnLst>
                <a:cxn ang="0">
                  <a:pos x="T0" y="T1"/>
                </a:cxn>
                <a:cxn ang="0">
                  <a:pos x="T2" y="T3"/>
                </a:cxn>
                <a:cxn ang="0">
                  <a:pos x="T4" y="T5"/>
                </a:cxn>
                <a:cxn ang="0">
                  <a:pos x="T6" y="T7"/>
                </a:cxn>
                <a:cxn ang="0">
                  <a:pos x="T8" y="T9"/>
                </a:cxn>
                <a:cxn ang="0">
                  <a:pos x="T10" y="T11"/>
                </a:cxn>
                <a:cxn ang="0">
                  <a:pos x="T12" y="T13"/>
                </a:cxn>
              </a:cxnLst>
              <a:rect l="0" t="0" r="r" b="b"/>
              <a:pathLst>
                <a:path w="2436" h="1851">
                  <a:moveTo>
                    <a:pt x="776" y="1465"/>
                  </a:moveTo>
                  <a:lnTo>
                    <a:pt x="194" y="884"/>
                  </a:lnTo>
                  <a:lnTo>
                    <a:pt x="0" y="1078"/>
                  </a:lnTo>
                  <a:lnTo>
                    <a:pt x="776" y="1851"/>
                  </a:lnTo>
                  <a:lnTo>
                    <a:pt x="2436" y="194"/>
                  </a:lnTo>
                  <a:lnTo>
                    <a:pt x="2242" y="0"/>
                  </a:lnTo>
                  <a:lnTo>
                    <a:pt x="776" y="146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61" name="TextBox 102">
            <a:extLst>
              <a:ext uri="{FF2B5EF4-FFF2-40B4-BE49-F238E27FC236}">
                <a16:creationId xmlns:a16="http://schemas.microsoft.com/office/drawing/2014/main" id="{3BE1DD9F-6631-4009-97CA-E5731E6E4ECB}"/>
              </a:ext>
            </a:extLst>
          </p:cNvPr>
          <p:cNvSpPr txBox="1"/>
          <p:nvPr/>
        </p:nvSpPr>
        <p:spPr>
          <a:xfrm>
            <a:off x="9040066" y="2630800"/>
            <a:ext cx="2426545" cy="400110"/>
          </a:xfrm>
          <a:prstGeom prst="rect">
            <a:avLst/>
          </a:prstGeom>
          <a:noFill/>
        </p:spPr>
        <p:txBody>
          <a:bodyPr wrap="square" rtlCol="0" anchor="ctr">
            <a:spAutoFit/>
          </a:bodyPr>
          <a:lstStyle/>
          <a:p>
            <a:pPr>
              <a:defRPr/>
            </a:pPr>
            <a:r>
              <a:rPr lang="fr-FR" sz="2000" b="1" dirty="0">
                <a:solidFill>
                  <a:schemeClr val="bg1"/>
                </a:solidFill>
              </a:rPr>
              <a:t>Processus manuel</a:t>
            </a:r>
            <a:endParaRPr lang="en-US" sz="2000" kern="0" dirty="0">
              <a:solidFill>
                <a:schemeClr val="bg1"/>
              </a:solidFill>
              <a:latin typeface="Arial" panose="020B0604020202020204" pitchFamily="34" charset="0"/>
              <a:cs typeface="Arial" panose="020B0604020202020204" pitchFamily="34" charset="0"/>
            </a:endParaRPr>
          </a:p>
        </p:txBody>
      </p:sp>
      <p:sp>
        <p:nvSpPr>
          <p:cNvPr id="62" name="TextBox 104">
            <a:extLst>
              <a:ext uri="{FF2B5EF4-FFF2-40B4-BE49-F238E27FC236}">
                <a16:creationId xmlns:a16="http://schemas.microsoft.com/office/drawing/2014/main" id="{68E975B9-1887-4A5A-8F1C-4CA275E419B7}"/>
              </a:ext>
            </a:extLst>
          </p:cNvPr>
          <p:cNvSpPr txBox="1"/>
          <p:nvPr/>
        </p:nvSpPr>
        <p:spPr>
          <a:xfrm>
            <a:off x="9040066" y="3488456"/>
            <a:ext cx="2426545" cy="400110"/>
          </a:xfrm>
          <a:prstGeom prst="rect">
            <a:avLst/>
          </a:prstGeom>
          <a:noFill/>
        </p:spPr>
        <p:txBody>
          <a:bodyPr wrap="square" rtlCol="0" anchor="ctr">
            <a:spAutoFit/>
          </a:bodyPr>
          <a:lstStyle/>
          <a:p>
            <a:pPr>
              <a:defRPr/>
            </a:pPr>
            <a:r>
              <a:rPr lang="fr-FR" sz="2000" b="1" dirty="0">
                <a:solidFill>
                  <a:schemeClr val="bg1"/>
                </a:solidFill>
              </a:rPr>
              <a:t>Complexité et risque</a:t>
            </a:r>
            <a:endParaRPr lang="en-US" sz="2000" kern="0" dirty="0">
              <a:solidFill>
                <a:schemeClr val="bg1"/>
              </a:solidFill>
              <a:latin typeface="Arial" panose="020B0604020202020204" pitchFamily="34" charset="0"/>
              <a:cs typeface="Arial" panose="020B0604020202020204" pitchFamily="34" charset="0"/>
            </a:endParaRPr>
          </a:p>
        </p:txBody>
      </p:sp>
      <p:sp>
        <p:nvSpPr>
          <p:cNvPr id="63" name="TextBox 105">
            <a:extLst>
              <a:ext uri="{FF2B5EF4-FFF2-40B4-BE49-F238E27FC236}">
                <a16:creationId xmlns:a16="http://schemas.microsoft.com/office/drawing/2014/main" id="{9C4B3FF1-51FD-466F-82C6-C260D4A99EF5}"/>
              </a:ext>
            </a:extLst>
          </p:cNvPr>
          <p:cNvSpPr txBox="1"/>
          <p:nvPr/>
        </p:nvSpPr>
        <p:spPr>
          <a:xfrm>
            <a:off x="9040066" y="4323511"/>
            <a:ext cx="2426545" cy="400110"/>
          </a:xfrm>
          <a:prstGeom prst="rect">
            <a:avLst/>
          </a:prstGeom>
          <a:noFill/>
        </p:spPr>
        <p:txBody>
          <a:bodyPr wrap="square" rtlCol="0" anchor="ctr">
            <a:spAutoFit/>
          </a:bodyPr>
          <a:lstStyle/>
          <a:p>
            <a:pPr>
              <a:defRPr/>
            </a:pPr>
            <a:r>
              <a:rPr lang="fr-FR" sz="2000" b="1" dirty="0">
                <a:solidFill>
                  <a:schemeClr val="bg1"/>
                </a:solidFill>
              </a:rPr>
              <a:t>Fréquence</a:t>
            </a:r>
            <a:endParaRPr lang="en-US" sz="2000" kern="0" dirty="0">
              <a:solidFill>
                <a:schemeClr val="bg1"/>
              </a:solidFill>
              <a:latin typeface="Arial" panose="020B0604020202020204" pitchFamily="34" charset="0"/>
              <a:cs typeface="Arial" panose="020B0604020202020204" pitchFamily="34" charset="0"/>
            </a:endParaRPr>
          </a:p>
        </p:txBody>
      </p:sp>
      <p:sp>
        <p:nvSpPr>
          <p:cNvPr id="64" name="TextBox 106">
            <a:extLst>
              <a:ext uri="{FF2B5EF4-FFF2-40B4-BE49-F238E27FC236}">
                <a16:creationId xmlns:a16="http://schemas.microsoft.com/office/drawing/2014/main" id="{78A45C81-45D3-44D8-BA7A-315026D876BB}"/>
              </a:ext>
            </a:extLst>
          </p:cNvPr>
          <p:cNvSpPr txBox="1"/>
          <p:nvPr/>
        </p:nvSpPr>
        <p:spPr>
          <a:xfrm>
            <a:off x="9040066" y="5160501"/>
            <a:ext cx="2426545" cy="400110"/>
          </a:xfrm>
          <a:prstGeom prst="rect">
            <a:avLst/>
          </a:prstGeom>
          <a:noFill/>
        </p:spPr>
        <p:txBody>
          <a:bodyPr wrap="square" rtlCol="0" anchor="ctr">
            <a:spAutoFit/>
          </a:bodyPr>
          <a:lstStyle/>
          <a:p>
            <a:pPr>
              <a:defRPr/>
            </a:pPr>
            <a:r>
              <a:rPr lang="fr-FR" sz="2000" b="1" dirty="0">
                <a:solidFill>
                  <a:schemeClr val="bg1"/>
                </a:solidFill>
              </a:rPr>
              <a:t>Documentation</a:t>
            </a:r>
            <a:endParaRPr lang="en-US" sz="2000" kern="0" dirty="0">
              <a:solidFill>
                <a:schemeClr val="bg1"/>
              </a:solidFill>
              <a:latin typeface="Arial" panose="020B0604020202020204" pitchFamily="34" charset="0"/>
              <a:cs typeface="Arial" panose="020B0604020202020204" pitchFamily="34" charset="0"/>
            </a:endParaRPr>
          </a:p>
        </p:txBody>
      </p:sp>
      <p:sp>
        <p:nvSpPr>
          <p:cNvPr id="65" name="TextBox 107">
            <a:extLst>
              <a:ext uri="{FF2B5EF4-FFF2-40B4-BE49-F238E27FC236}">
                <a16:creationId xmlns:a16="http://schemas.microsoft.com/office/drawing/2014/main" id="{CB3EC35C-27CD-49CD-9CBC-3A24A7C86D8F}"/>
              </a:ext>
            </a:extLst>
          </p:cNvPr>
          <p:cNvSpPr txBox="1"/>
          <p:nvPr/>
        </p:nvSpPr>
        <p:spPr>
          <a:xfrm>
            <a:off x="300252" y="2652433"/>
            <a:ext cx="2816180" cy="400110"/>
          </a:xfrm>
          <a:prstGeom prst="rect">
            <a:avLst/>
          </a:prstGeom>
          <a:noFill/>
        </p:spPr>
        <p:txBody>
          <a:bodyPr wrap="square" rtlCol="0" anchor="ctr">
            <a:spAutoFit/>
          </a:bodyPr>
          <a:lstStyle/>
          <a:p>
            <a:pPr algn="r">
              <a:defRPr/>
            </a:pPr>
            <a:r>
              <a:rPr lang="fr-FR" sz="2000" b="1" dirty="0">
                <a:solidFill>
                  <a:schemeClr val="bg1"/>
                </a:solidFill>
              </a:rPr>
              <a:t>Processus automatisé</a:t>
            </a:r>
            <a:endParaRPr lang="en-US" sz="2000" b="1" kern="0" dirty="0">
              <a:solidFill>
                <a:schemeClr val="bg1"/>
              </a:solidFill>
              <a:latin typeface="Arial" panose="020B0604020202020204" pitchFamily="34" charset="0"/>
              <a:cs typeface="Arial" panose="020B0604020202020204" pitchFamily="34" charset="0"/>
            </a:endParaRPr>
          </a:p>
        </p:txBody>
      </p:sp>
      <p:sp>
        <p:nvSpPr>
          <p:cNvPr id="66" name="TextBox 108">
            <a:extLst>
              <a:ext uri="{FF2B5EF4-FFF2-40B4-BE49-F238E27FC236}">
                <a16:creationId xmlns:a16="http://schemas.microsoft.com/office/drawing/2014/main" id="{EF1BC9A0-98AA-4DE2-8E3A-53046BC94682}"/>
              </a:ext>
            </a:extLst>
          </p:cNvPr>
          <p:cNvSpPr txBox="1"/>
          <p:nvPr/>
        </p:nvSpPr>
        <p:spPr>
          <a:xfrm>
            <a:off x="698093" y="3453865"/>
            <a:ext cx="2426545" cy="400110"/>
          </a:xfrm>
          <a:prstGeom prst="rect">
            <a:avLst/>
          </a:prstGeom>
          <a:noFill/>
        </p:spPr>
        <p:txBody>
          <a:bodyPr wrap="square" rtlCol="0" anchor="ctr">
            <a:spAutoFit/>
          </a:bodyPr>
          <a:lstStyle/>
          <a:p>
            <a:pPr>
              <a:defRPr/>
            </a:pPr>
            <a:r>
              <a:rPr lang="fr-FR" sz="2000" b="1" dirty="0">
                <a:solidFill>
                  <a:schemeClr val="bg1"/>
                </a:solidFill>
              </a:rPr>
              <a:t>Automatisation</a:t>
            </a:r>
            <a:endParaRPr lang="en-US" sz="2000" kern="0" dirty="0">
              <a:solidFill>
                <a:schemeClr val="bg1"/>
              </a:solidFill>
              <a:latin typeface="Arial" panose="020B0604020202020204" pitchFamily="34" charset="0"/>
              <a:cs typeface="Arial" panose="020B0604020202020204" pitchFamily="34" charset="0"/>
            </a:endParaRPr>
          </a:p>
        </p:txBody>
      </p:sp>
      <p:sp>
        <p:nvSpPr>
          <p:cNvPr id="67" name="TextBox 109">
            <a:extLst>
              <a:ext uri="{FF2B5EF4-FFF2-40B4-BE49-F238E27FC236}">
                <a16:creationId xmlns:a16="http://schemas.microsoft.com/office/drawing/2014/main" id="{EB5AAB49-2173-44EF-9B06-D53304B738F4}"/>
              </a:ext>
            </a:extLst>
          </p:cNvPr>
          <p:cNvSpPr txBox="1"/>
          <p:nvPr/>
        </p:nvSpPr>
        <p:spPr>
          <a:xfrm>
            <a:off x="693285" y="4232704"/>
            <a:ext cx="2426545" cy="400110"/>
          </a:xfrm>
          <a:prstGeom prst="rect">
            <a:avLst/>
          </a:prstGeom>
          <a:noFill/>
        </p:spPr>
        <p:txBody>
          <a:bodyPr wrap="square" rtlCol="0" anchor="ctr">
            <a:spAutoFit/>
          </a:bodyPr>
          <a:lstStyle/>
          <a:p>
            <a:pPr>
              <a:defRPr/>
            </a:pPr>
            <a:r>
              <a:rPr lang="fr-FR" sz="2000" b="1" dirty="0">
                <a:solidFill>
                  <a:schemeClr val="bg1"/>
                </a:solidFill>
              </a:rPr>
              <a:t>Fréquence</a:t>
            </a:r>
            <a:endParaRPr lang="en-US" sz="2000" kern="0" dirty="0">
              <a:solidFill>
                <a:schemeClr val="bg1"/>
              </a:solidFill>
              <a:latin typeface="Arial" panose="020B0604020202020204" pitchFamily="34" charset="0"/>
              <a:cs typeface="Arial" panose="020B0604020202020204" pitchFamily="34" charset="0"/>
            </a:endParaRPr>
          </a:p>
        </p:txBody>
      </p:sp>
      <p:sp>
        <p:nvSpPr>
          <p:cNvPr id="68" name="TextBox 110">
            <a:extLst>
              <a:ext uri="{FF2B5EF4-FFF2-40B4-BE49-F238E27FC236}">
                <a16:creationId xmlns:a16="http://schemas.microsoft.com/office/drawing/2014/main" id="{3BDB5180-598A-40E4-88A8-ED7CD7E2DF62}"/>
              </a:ext>
            </a:extLst>
          </p:cNvPr>
          <p:cNvSpPr txBox="1"/>
          <p:nvPr/>
        </p:nvSpPr>
        <p:spPr>
          <a:xfrm>
            <a:off x="689886" y="5160501"/>
            <a:ext cx="2426545" cy="400110"/>
          </a:xfrm>
          <a:prstGeom prst="rect">
            <a:avLst/>
          </a:prstGeom>
          <a:noFill/>
        </p:spPr>
        <p:txBody>
          <a:bodyPr wrap="square" rtlCol="0" anchor="ctr">
            <a:spAutoFit/>
          </a:bodyPr>
          <a:lstStyle/>
          <a:p>
            <a:pPr>
              <a:defRPr/>
            </a:pPr>
            <a:r>
              <a:rPr lang="fr-FR" sz="2000" b="1" dirty="0">
                <a:solidFill>
                  <a:schemeClr val="bg1"/>
                </a:solidFill>
              </a:rPr>
              <a:t>Documentation</a:t>
            </a:r>
            <a:endParaRPr lang="en-US" sz="2000" kern="0" dirty="0">
              <a:solidFill>
                <a:schemeClr val="bg1"/>
              </a:solidFill>
              <a:latin typeface="Arial" panose="020B0604020202020204" pitchFamily="34" charset="0"/>
              <a:cs typeface="Arial" panose="020B0604020202020204" pitchFamily="34" charset="0"/>
            </a:endParaRPr>
          </a:p>
        </p:txBody>
      </p:sp>
      <p:sp>
        <p:nvSpPr>
          <p:cNvPr id="69" name="TextBox 26">
            <a:extLst>
              <a:ext uri="{FF2B5EF4-FFF2-40B4-BE49-F238E27FC236}">
                <a16:creationId xmlns:a16="http://schemas.microsoft.com/office/drawing/2014/main" id="{664CCD06-CF3F-4C3F-BE68-9A7C8334B9CE}"/>
              </a:ext>
            </a:extLst>
          </p:cNvPr>
          <p:cNvSpPr txBox="1"/>
          <p:nvPr/>
        </p:nvSpPr>
        <p:spPr>
          <a:xfrm>
            <a:off x="754672" y="1350786"/>
            <a:ext cx="748923" cy="369332"/>
          </a:xfrm>
          <a:prstGeom prst="rect">
            <a:avLst/>
          </a:prstGeom>
          <a:noFill/>
        </p:spPr>
        <p:txBody>
          <a:bodyPr wrap="none" rtlCol="0" anchor="ctr">
            <a:spAutoFit/>
          </a:bodyPr>
          <a:lstStyle/>
          <a:p>
            <a:pPr algn="ctr"/>
            <a:r>
              <a:rPr lang="en-IN" b="1" dirty="0">
                <a:solidFill>
                  <a:schemeClr val="accent2"/>
                </a:solidFill>
                <a:latin typeface="Arial" panose="020B0604020202020204" pitchFamily="34" charset="0"/>
                <a:cs typeface="Arial" panose="020B0604020202020204" pitchFamily="34" charset="0"/>
              </a:rPr>
              <a:t>DO’S</a:t>
            </a:r>
          </a:p>
        </p:txBody>
      </p:sp>
      <p:sp>
        <p:nvSpPr>
          <p:cNvPr id="70" name="TextBox 27">
            <a:extLst>
              <a:ext uri="{FF2B5EF4-FFF2-40B4-BE49-F238E27FC236}">
                <a16:creationId xmlns:a16="http://schemas.microsoft.com/office/drawing/2014/main" id="{7C4D3D61-EAE9-41F3-B457-B49B9E40A5DF}"/>
              </a:ext>
            </a:extLst>
          </p:cNvPr>
          <p:cNvSpPr txBox="1"/>
          <p:nvPr/>
        </p:nvSpPr>
        <p:spPr>
          <a:xfrm>
            <a:off x="10350016" y="1350786"/>
            <a:ext cx="1056700" cy="369332"/>
          </a:xfrm>
          <a:prstGeom prst="rect">
            <a:avLst/>
          </a:prstGeom>
          <a:noFill/>
        </p:spPr>
        <p:txBody>
          <a:bodyPr wrap="none" rtlCol="0" anchor="ctr">
            <a:spAutoFit/>
          </a:bodyPr>
          <a:lstStyle/>
          <a:p>
            <a:pPr algn="ctr"/>
            <a:r>
              <a:rPr lang="en-IN" b="1" dirty="0">
                <a:solidFill>
                  <a:schemeClr val="accent5"/>
                </a:solidFill>
                <a:latin typeface="Arial" panose="020B0604020202020204" pitchFamily="34" charset="0"/>
                <a:cs typeface="Arial" panose="020B0604020202020204" pitchFamily="34" charset="0"/>
              </a:rPr>
              <a:t>DON’TS</a:t>
            </a:r>
          </a:p>
        </p:txBody>
      </p:sp>
    </p:spTree>
    <p:extLst>
      <p:ext uri="{BB962C8B-B14F-4D97-AF65-F5344CB8AC3E}">
        <p14:creationId xmlns:p14="http://schemas.microsoft.com/office/powerpoint/2010/main" val="20799745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89609 -0.01134 L 0.89609 0.82639 " pathEditMode="fixed" rAng="0" ptsTypes="AA">
                                      <p:cBhvr>
                                        <p:cTn id="6" dur="1000" spd="-100000" fill="hold"/>
                                        <p:tgtEl>
                                          <p:spTgt spid="23"/>
                                        </p:tgtEl>
                                        <p:attrNameLst>
                                          <p:attrName>ppt_x</p:attrName>
                                          <p:attrName>ppt_y</p:attrName>
                                        </p:attrNameLst>
                                      </p:cBhvr>
                                      <p:rCtr x="0" y="41875"/>
                                    </p:animMotion>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3"/>
                    </p:tgtEl>
                  </p:cond>
                </p:stCondLst>
                <p:endSync evt="end" delay="0">
                  <p:rtn val="all"/>
                </p:endSync>
                <p:childTnLst>
                  <p:par>
                    <p:cTn id="8" fill="hold">
                      <p:stCondLst>
                        <p:cond delay="0"/>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0.89609 -0.01134 L 0.89609 0.78773 " pathEditMode="fixed" rAng="0" ptsTypes="AA">
                                      <p:cBhvr>
                                        <p:cTn id="11" dur="500" fill="hold"/>
                                        <p:tgtEl>
                                          <p:spTgt spid="23"/>
                                        </p:tgtEl>
                                        <p:attrNameLst>
                                          <p:attrName>ppt_x</p:attrName>
                                          <p:attrName>ppt_y</p:attrName>
                                        </p:attrNameLst>
                                      </p:cBhvr>
                                      <p:rCtr x="0" y="39954"/>
                                    </p:animMotion>
                                  </p:childTnLst>
                                </p:cTn>
                              </p:par>
                            </p:childTnLst>
                          </p:cTn>
                        </p:par>
                      </p:childTnLst>
                    </p:cTn>
                  </p:par>
                </p:childTnLst>
              </p:cTn>
              <p:nextCondLst>
                <p:cond evt="onClick" delay="0">
                  <p:tgtEl>
                    <p:spTgt spid="23"/>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73A4C"/>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528743" y="240848"/>
            <a:ext cx="6254193" cy="6125664"/>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3286297" y="1200284"/>
            <a:ext cx="9749785"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400" dirty="0">
                <a:ln w="25400">
                  <a:solidFill>
                    <a:prstClr val="white"/>
                  </a:solidFill>
                </a:ln>
                <a:noFill/>
                <a:latin typeface="Gotham Black" pitchFamily="50" charset="0"/>
              </a:rPr>
              <a:t>EXEMPLE</a:t>
            </a: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764812639"/>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03B71D4-3B7F-3B5A-92E0-463952EF10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DCAF9AD1-D02F-B514-3D42-5DBD72FA61D2}"/>
              </a:ext>
            </a:extLst>
          </p:cNvPr>
          <p:cNvSpPr/>
          <p:nvPr/>
        </p:nvSpPr>
        <p:spPr>
          <a:xfrm>
            <a:off x="0" y="0"/>
            <a:ext cx="12192000" cy="6858000"/>
          </a:xfrm>
          <a:prstGeom prst="rect">
            <a:avLst/>
          </a:prstGeom>
          <a:solidFill>
            <a:srgbClr val="073A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6A2BB7ED-D09E-2C35-E604-08D8EBAC4DAF}"/>
              </a:ext>
            </a:extLst>
          </p:cNvPr>
          <p:cNvGrpSpPr/>
          <p:nvPr/>
        </p:nvGrpSpPr>
        <p:grpSpPr>
          <a:xfrm>
            <a:off x="-2024001" y="-4276609"/>
            <a:ext cx="15544800" cy="15544800"/>
            <a:chOff x="3329940" y="586740"/>
            <a:chExt cx="5875020" cy="5875020"/>
          </a:xfrm>
        </p:grpSpPr>
        <p:sp>
          <p:nvSpPr>
            <p:cNvPr id="13" name="Oval 12">
              <a:extLst>
                <a:ext uri="{FF2B5EF4-FFF2-40B4-BE49-F238E27FC236}">
                  <a16:creationId xmlns:a16="http://schemas.microsoft.com/office/drawing/2014/main" id="{BCFF3083-7164-F7ED-F84D-A3FEB4E70B2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CDCEF62F-E1FD-2C96-9511-7E6BE8F4B4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9" name="think-cell Slide" r:id="rId7" imgW="425" imgH="424" progId="TCLayout.ActiveDocument.1">
                  <p:embed/>
                </p:oleObj>
              </mc:Choice>
              <mc:Fallback>
                <p:oleObj name="think-cell Slide" r:id="rId7"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2614074" y="396240"/>
            <a:ext cx="671979" cy="1477328"/>
          </a:xfrm>
          <a:prstGeom prst="rect">
            <a:avLst/>
          </a:prstGeom>
          <a:noFill/>
        </p:spPr>
        <p:txBody>
          <a:bodyPr wrap="none" rtlCol="0">
            <a:spAutoFit/>
          </a:bodyPr>
          <a:lstStyle/>
          <a:p>
            <a:r>
              <a:rPr lang="en-US" sz="9000" dirty="0">
                <a:ln w="25400">
                  <a:solidFill>
                    <a:schemeClr val="bg1"/>
                  </a:solidFill>
                </a:ln>
                <a:noFill/>
                <a:latin typeface="Gotham Black" pitchFamily="50" charset="0"/>
              </a:rPr>
              <a:t>1</a:t>
            </a:r>
          </a:p>
        </p:txBody>
      </p:sp>
      <p:sp>
        <p:nvSpPr>
          <p:cNvPr id="10" name="TextBox 9">
            <a:extLst>
              <a:ext uri="{FF2B5EF4-FFF2-40B4-BE49-F238E27FC236}">
                <a16:creationId xmlns:a16="http://schemas.microsoft.com/office/drawing/2014/main" id="{2301A4A2-C7DF-4BA5-8607-F06B1E89B651}"/>
              </a:ext>
            </a:extLst>
          </p:cNvPr>
          <p:cNvSpPr txBox="1"/>
          <p:nvPr/>
        </p:nvSpPr>
        <p:spPr>
          <a:xfrm>
            <a:off x="3466254" y="482408"/>
            <a:ext cx="4060727" cy="1323439"/>
          </a:xfrm>
          <a:prstGeom prst="rect">
            <a:avLst/>
          </a:prstGeom>
          <a:noFill/>
        </p:spPr>
        <p:txBody>
          <a:bodyPr wrap="none" rtlCol="0">
            <a:spAutoFit/>
          </a:bodyPr>
          <a:lstStyle/>
          <a:p>
            <a:r>
              <a:rPr lang="en-US" sz="8000" dirty="0">
                <a:solidFill>
                  <a:schemeClr val="bg1"/>
                </a:solidFill>
                <a:effectLst>
                  <a:outerShdw blurRad="38100" dist="38100" dir="2700000" algn="tl">
                    <a:srgbClr val="000000">
                      <a:alpha val="43137"/>
                    </a:srgbClr>
                  </a:outerShdw>
                </a:effectLst>
                <a:latin typeface="Chewy" panose="02000000000000000000" pitchFamily="2" charset="0"/>
              </a:rPr>
              <a:t>EXEMPLE</a:t>
            </a:r>
          </a:p>
        </p:txBody>
      </p:sp>
      <p:sp>
        <p:nvSpPr>
          <p:cNvPr id="26" name="Rectangle 25">
            <a:extLst>
              <a:ext uri="{FF2B5EF4-FFF2-40B4-BE49-F238E27FC236}">
                <a16:creationId xmlns:a16="http://schemas.microsoft.com/office/drawing/2014/main" id="{1714595F-3A7D-4C7A-89CB-42480388993B}"/>
              </a:ext>
            </a:extLst>
          </p:cNvPr>
          <p:cNvSpPr/>
          <p:nvPr/>
        </p:nvSpPr>
        <p:spPr>
          <a:xfrm>
            <a:off x="1301763" y="3200482"/>
            <a:ext cx="8893271" cy="2696178"/>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29F8AF10-E59E-8D21-D95A-F683F8138EB0}"/>
              </a:ext>
            </a:extLst>
          </p:cNvPr>
          <p:cNvCxnSpPr>
            <a:cxnSpLocks/>
          </p:cNvCxnSpPr>
          <p:nvPr/>
        </p:nvCxnSpPr>
        <p:spPr>
          <a:xfrm>
            <a:off x="-3002280" y="1815822"/>
            <a:ext cx="1097280"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22" name="Picture 16">
            <a:extLst>
              <a:ext uri="{FF2B5EF4-FFF2-40B4-BE49-F238E27FC236}">
                <a16:creationId xmlns:a16="http://schemas.microsoft.com/office/drawing/2014/main" id="{E74B9082-D95D-4F7E-8B27-40AA10B86C70}"/>
              </a:ext>
            </a:extLst>
          </p:cNvPr>
          <p:cNvPicPr>
            <a:picLocks noChangeAspect="1"/>
          </p:cNvPicPr>
          <p:nvPr/>
        </p:nvPicPr>
        <p:blipFill>
          <a:blip r:embed="rId9"/>
          <a:stretch>
            <a:fillRect/>
          </a:stretch>
        </p:blipFill>
        <p:spPr>
          <a:xfrm>
            <a:off x="2737413" y="4097076"/>
            <a:ext cx="1097280" cy="109728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25" name="Picture 20">
            <a:extLst>
              <a:ext uri="{FF2B5EF4-FFF2-40B4-BE49-F238E27FC236}">
                <a16:creationId xmlns:a16="http://schemas.microsoft.com/office/drawing/2014/main" id="{08615340-2982-4166-9B40-171B0B67D2F2}"/>
              </a:ext>
            </a:extLst>
          </p:cNvPr>
          <p:cNvPicPr>
            <a:picLocks noChangeAspect="1"/>
          </p:cNvPicPr>
          <p:nvPr/>
        </p:nvPicPr>
        <p:blipFill>
          <a:blip r:embed="rId10"/>
          <a:stretch>
            <a:fillRect/>
          </a:stretch>
        </p:blipFill>
        <p:spPr>
          <a:xfrm>
            <a:off x="4982658" y="4215966"/>
            <a:ext cx="1097280" cy="97839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28" name="Picture 23">
            <a:extLst>
              <a:ext uri="{FF2B5EF4-FFF2-40B4-BE49-F238E27FC236}">
                <a16:creationId xmlns:a16="http://schemas.microsoft.com/office/drawing/2014/main" id="{B076176F-DEFB-47B4-930F-A560D782407E}"/>
              </a:ext>
            </a:extLst>
          </p:cNvPr>
          <p:cNvPicPr>
            <a:picLocks noChangeAspect="1"/>
          </p:cNvPicPr>
          <p:nvPr/>
        </p:nvPicPr>
        <p:blipFill>
          <a:blip r:embed="rId11"/>
          <a:stretch>
            <a:fillRect/>
          </a:stretch>
        </p:blipFill>
        <p:spPr>
          <a:xfrm>
            <a:off x="7227903" y="4287330"/>
            <a:ext cx="1097280" cy="97839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38" name="Graphique 37">
            <a:hlinkClick r:id="rId12" action="ppaction://hlinksldjump"/>
            <a:extLst>
              <a:ext uri="{FF2B5EF4-FFF2-40B4-BE49-F238E27FC236}">
                <a16:creationId xmlns:a16="http://schemas.microsoft.com/office/drawing/2014/main" id="{1A11E8F2-9E99-4F5E-A65F-754C8B1FB39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551789" y="6202584"/>
            <a:ext cx="548855" cy="548855"/>
          </a:xfrm>
          <a:prstGeom prst="rect">
            <a:avLst/>
          </a:prstGeom>
        </p:spPr>
      </p:pic>
      <p:pic>
        <p:nvPicPr>
          <p:cNvPr id="29" name="Picture 28">
            <a:extLst>
              <a:ext uri="{FF2B5EF4-FFF2-40B4-BE49-F238E27FC236}">
                <a16:creationId xmlns:a16="http://schemas.microsoft.com/office/drawing/2014/main" id="{3ADA7C1F-1B05-87F0-67BC-AB748170840B}"/>
              </a:ext>
            </a:extLst>
          </p:cNvPr>
          <p:cNvPicPr>
            <a:picLocks noChangeAspect="1"/>
          </p:cNvPicPr>
          <p:nvPr/>
        </p:nvPicPr>
        <p:blipFill>
          <a:blip r:embed="rId9"/>
          <a:stretch>
            <a:fillRect/>
          </a:stretch>
        </p:blipFill>
        <p:spPr>
          <a:xfrm>
            <a:off x="-7626922" y="8313514"/>
            <a:ext cx="8249833" cy="2238802"/>
          </a:xfrm>
          <a:prstGeom prst="rect">
            <a:avLst/>
          </a:prstGeom>
        </p:spPr>
      </p:pic>
      <p:pic>
        <p:nvPicPr>
          <p:cNvPr id="23" name="Picture 22">
            <a:extLst>
              <a:ext uri="{FF2B5EF4-FFF2-40B4-BE49-F238E27FC236}">
                <a16:creationId xmlns:a16="http://schemas.microsoft.com/office/drawing/2014/main" id="{576CA731-1FA9-AE09-0388-B268EB3824DD}"/>
              </a:ext>
            </a:extLst>
          </p:cNvPr>
          <p:cNvPicPr>
            <a:picLocks noChangeAspect="1"/>
          </p:cNvPicPr>
          <p:nvPr/>
        </p:nvPicPr>
        <p:blipFill>
          <a:blip r:embed="rId10"/>
          <a:stretch>
            <a:fillRect/>
          </a:stretch>
        </p:blipFill>
        <p:spPr>
          <a:xfrm>
            <a:off x="-10026286" y="-1834537"/>
            <a:ext cx="7655182" cy="5004072"/>
          </a:xfrm>
          <a:prstGeom prst="rect">
            <a:avLst/>
          </a:prstGeom>
        </p:spPr>
      </p:pic>
      <p:pic>
        <p:nvPicPr>
          <p:cNvPr id="36" name="Picture 35">
            <a:extLst>
              <a:ext uri="{FF2B5EF4-FFF2-40B4-BE49-F238E27FC236}">
                <a16:creationId xmlns:a16="http://schemas.microsoft.com/office/drawing/2014/main" id="{658ED068-B40F-0229-67C6-FD695DFBBC29}"/>
              </a:ext>
            </a:extLst>
          </p:cNvPr>
          <p:cNvPicPr>
            <a:picLocks noChangeAspect="1"/>
          </p:cNvPicPr>
          <p:nvPr/>
        </p:nvPicPr>
        <p:blipFill>
          <a:blip r:embed="rId11"/>
          <a:stretch>
            <a:fillRect/>
          </a:stretch>
        </p:blipFill>
        <p:spPr>
          <a:xfrm>
            <a:off x="13828310" y="3873595"/>
            <a:ext cx="7322079" cy="4782971"/>
          </a:xfrm>
          <a:prstGeom prst="rect">
            <a:avLst/>
          </a:prstGeom>
        </p:spPr>
      </p:pic>
    </p:spTree>
    <p:extLst>
      <p:ext uri="{BB962C8B-B14F-4D97-AF65-F5344CB8AC3E}">
        <p14:creationId xmlns:p14="http://schemas.microsoft.com/office/powerpoint/2010/main" val="273447464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49" presetClass="entr" presetSubtype="0" decel="10000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p:cTn id="11" dur="500" fill="hold"/>
                                        <p:tgtEl>
                                          <p:spTgt spid="22"/>
                                        </p:tgtEl>
                                        <p:attrNameLst>
                                          <p:attrName>ppt_w</p:attrName>
                                        </p:attrNameLst>
                                      </p:cBhvr>
                                      <p:tavLst>
                                        <p:tav tm="0">
                                          <p:val>
                                            <p:fltVal val="0"/>
                                          </p:val>
                                        </p:tav>
                                        <p:tav tm="100000">
                                          <p:val>
                                            <p:strVal val="#ppt_w"/>
                                          </p:val>
                                        </p:tav>
                                      </p:tavLst>
                                    </p:anim>
                                    <p:anim calcmode="lin" valueType="num">
                                      <p:cBhvr>
                                        <p:cTn id="12" dur="500" fill="hold"/>
                                        <p:tgtEl>
                                          <p:spTgt spid="22"/>
                                        </p:tgtEl>
                                        <p:attrNameLst>
                                          <p:attrName>ppt_h</p:attrName>
                                        </p:attrNameLst>
                                      </p:cBhvr>
                                      <p:tavLst>
                                        <p:tav tm="0">
                                          <p:val>
                                            <p:fltVal val="0"/>
                                          </p:val>
                                        </p:tav>
                                        <p:tav tm="100000">
                                          <p:val>
                                            <p:strVal val="#ppt_h"/>
                                          </p:val>
                                        </p:tav>
                                      </p:tavLst>
                                    </p:anim>
                                    <p:anim calcmode="lin" valueType="num">
                                      <p:cBhvr>
                                        <p:cTn id="13" dur="500" fill="hold"/>
                                        <p:tgtEl>
                                          <p:spTgt spid="22"/>
                                        </p:tgtEl>
                                        <p:attrNameLst>
                                          <p:attrName>style.rotation</p:attrName>
                                        </p:attrNameLst>
                                      </p:cBhvr>
                                      <p:tavLst>
                                        <p:tav tm="0">
                                          <p:val>
                                            <p:fltVal val="360"/>
                                          </p:val>
                                        </p:tav>
                                        <p:tav tm="100000">
                                          <p:val>
                                            <p:fltVal val="0"/>
                                          </p:val>
                                        </p:tav>
                                      </p:tavLst>
                                    </p:anim>
                                    <p:animEffect transition="in" filter="fade">
                                      <p:cBhvr>
                                        <p:cTn id="14" dur="500"/>
                                        <p:tgtEl>
                                          <p:spTgt spid="22"/>
                                        </p:tgtEl>
                                      </p:cBhvr>
                                    </p:animEffect>
                                  </p:childTnLst>
                                </p:cTn>
                              </p:par>
                            </p:childTnLst>
                          </p:cTn>
                        </p:par>
                        <p:par>
                          <p:cTn id="15" fill="hold">
                            <p:stCondLst>
                              <p:cond delay="1000"/>
                            </p:stCondLst>
                            <p:childTnLst>
                              <p:par>
                                <p:cTn id="16" presetID="49" presetClass="entr" presetSubtype="0" decel="100000"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cBhvr>
                                        <p:cTn id="18" dur="500" fill="hold"/>
                                        <p:tgtEl>
                                          <p:spTgt spid="25"/>
                                        </p:tgtEl>
                                        <p:attrNameLst>
                                          <p:attrName>ppt_w</p:attrName>
                                        </p:attrNameLst>
                                      </p:cBhvr>
                                      <p:tavLst>
                                        <p:tav tm="0">
                                          <p:val>
                                            <p:fltVal val="0"/>
                                          </p:val>
                                        </p:tav>
                                        <p:tav tm="100000">
                                          <p:val>
                                            <p:strVal val="#ppt_w"/>
                                          </p:val>
                                        </p:tav>
                                      </p:tavLst>
                                    </p:anim>
                                    <p:anim calcmode="lin" valueType="num">
                                      <p:cBhvr>
                                        <p:cTn id="19" dur="500" fill="hold"/>
                                        <p:tgtEl>
                                          <p:spTgt spid="25"/>
                                        </p:tgtEl>
                                        <p:attrNameLst>
                                          <p:attrName>ppt_h</p:attrName>
                                        </p:attrNameLst>
                                      </p:cBhvr>
                                      <p:tavLst>
                                        <p:tav tm="0">
                                          <p:val>
                                            <p:fltVal val="0"/>
                                          </p:val>
                                        </p:tav>
                                        <p:tav tm="100000">
                                          <p:val>
                                            <p:strVal val="#ppt_h"/>
                                          </p:val>
                                        </p:tav>
                                      </p:tavLst>
                                    </p:anim>
                                    <p:anim calcmode="lin" valueType="num">
                                      <p:cBhvr>
                                        <p:cTn id="20" dur="500" fill="hold"/>
                                        <p:tgtEl>
                                          <p:spTgt spid="25"/>
                                        </p:tgtEl>
                                        <p:attrNameLst>
                                          <p:attrName>style.rotation</p:attrName>
                                        </p:attrNameLst>
                                      </p:cBhvr>
                                      <p:tavLst>
                                        <p:tav tm="0">
                                          <p:val>
                                            <p:fltVal val="360"/>
                                          </p:val>
                                        </p:tav>
                                        <p:tav tm="100000">
                                          <p:val>
                                            <p:fltVal val="0"/>
                                          </p:val>
                                        </p:tav>
                                      </p:tavLst>
                                    </p:anim>
                                    <p:animEffect transition="in" filter="fade">
                                      <p:cBhvr>
                                        <p:cTn id="21" dur="500"/>
                                        <p:tgtEl>
                                          <p:spTgt spid="25"/>
                                        </p:tgtEl>
                                      </p:cBhvr>
                                    </p:animEffect>
                                  </p:childTnLst>
                                </p:cTn>
                              </p:par>
                            </p:childTnLst>
                          </p:cTn>
                        </p:par>
                        <p:par>
                          <p:cTn id="22" fill="hold">
                            <p:stCondLst>
                              <p:cond delay="1500"/>
                            </p:stCondLst>
                            <p:childTnLst>
                              <p:par>
                                <p:cTn id="23" presetID="49" presetClass="entr" presetSubtype="0" decel="100000" fill="hold" nodeType="after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p:cTn id="25" dur="500" fill="hold"/>
                                        <p:tgtEl>
                                          <p:spTgt spid="28"/>
                                        </p:tgtEl>
                                        <p:attrNameLst>
                                          <p:attrName>ppt_w</p:attrName>
                                        </p:attrNameLst>
                                      </p:cBhvr>
                                      <p:tavLst>
                                        <p:tav tm="0">
                                          <p:val>
                                            <p:fltVal val="0"/>
                                          </p:val>
                                        </p:tav>
                                        <p:tav tm="100000">
                                          <p:val>
                                            <p:strVal val="#ppt_w"/>
                                          </p:val>
                                        </p:tav>
                                      </p:tavLst>
                                    </p:anim>
                                    <p:anim calcmode="lin" valueType="num">
                                      <p:cBhvr>
                                        <p:cTn id="26" dur="500" fill="hold"/>
                                        <p:tgtEl>
                                          <p:spTgt spid="28"/>
                                        </p:tgtEl>
                                        <p:attrNameLst>
                                          <p:attrName>ppt_h</p:attrName>
                                        </p:attrNameLst>
                                      </p:cBhvr>
                                      <p:tavLst>
                                        <p:tav tm="0">
                                          <p:val>
                                            <p:fltVal val="0"/>
                                          </p:val>
                                        </p:tav>
                                        <p:tav tm="100000">
                                          <p:val>
                                            <p:strVal val="#ppt_h"/>
                                          </p:val>
                                        </p:tav>
                                      </p:tavLst>
                                    </p:anim>
                                    <p:anim calcmode="lin" valueType="num">
                                      <p:cBhvr>
                                        <p:cTn id="27" dur="500" fill="hold"/>
                                        <p:tgtEl>
                                          <p:spTgt spid="28"/>
                                        </p:tgtEl>
                                        <p:attrNameLst>
                                          <p:attrName>style.rotation</p:attrName>
                                        </p:attrNameLst>
                                      </p:cBhvr>
                                      <p:tavLst>
                                        <p:tav tm="0">
                                          <p:val>
                                            <p:fltVal val="360"/>
                                          </p:val>
                                        </p:tav>
                                        <p:tav tm="100000">
                                          <p:val>
                                            <p:fltVal val="0"/>
                                          </p:val>
                                        </p:tav>
                                      </p:tavLst>
                                    </p:anim>
                                    <p:animEffect transition="in" filter="fade">
                                      <p:cBhvr>
                                        <p:cTn id="28" dur="500"/>
                                        <p:tgtEl>
                                          <p:spTgt spid="28"/>
                                        </p:tgtEl>
                                      </p:cBhvr>
                                    </p:animEffect>
                                  </p:childTnLst>
                                </p:cTn>
                              </p:par>
                            </p:childTnLst>
                          </p:cTn>
                        </p:par>
                      </p:childTnLst>
                    </p:cTn>
                  </p:par>
                  <p:par>
                    <p:cTn id="29" fill="hold">
                      <p:stCondLst>
                        <p:cond delay="indefinite"/>
                      </p:stCondLst>
                      <p:childTnLst>
                        <p:par>
                          <p:cTn id="30" fill="hold">
                            <p:stCondLst>
                              <p:cond delay="0"/>
                            </p:stCondLst>
                            <p:childTnLst>
                              <p:par>
                                <p:cTn id="31" presetID="42" presetClass="path" presetSubtype="0" accel="50000" decel="50000" fill="hold" nodeType="clickEffect">
                                  <p:stCondLst>
                                    <p:cond delay="0"/>
                                  </p:stCondLst>
                                  <p:childTnLst>
                                    <p:animMotion origin="layout" path="M 0.7862 -0.84305 L 0.7862 0.02222 " pathEditMode="fixed" rAng="0" ptsTypes="AA">
                                      <p:cBhvr>
                                        <p:cTn id="32" dur="1000" spd="-100000" fill="hold"/>
                                        <p:tgtEl>
                                          <p:spTgt spid="29"/>
                                        </p:tgtEl>
                                        <p:attrNameLst>
                                          <p:attrName>ppt_x</p:attrName>
                                          <p:attrName>ppt_y</p:attrName>
                                        </p:attrNameLst>
                                      </p:cBhvr>
                                      <p:rCtr x="0" y="43264"/>
                                    </p:animMotion>
                                  </p:childTnLst>
                                </p:cTn>
                              </p:par>
                            </p:childTnLst>
                          </p:cTn>
                        </p:par>
                      </p:childTnLst>
                    </p:cTn>
                  </p:par>
                  <p:par>
                    <p:cTn id="33" fill="hold">
                      <p:stCondLst>
                        <p:cond delay="indefinite"/>
                      </p:stCondLst>
                      <p:childTnLst>
                        <p:par>
                          <p:cTn id="34" fill="hold">
                            <p:stCondLst>
                              <p:cond delay="0"/>
                            </p:stCondLst>
                            <p:childTnLst>
                              <p:par>
                                <p:cTn id="35" presetID="42" presetClass="path" presetSubtype="0" accel="50000" decel="50000" fill="hold" nodeType="clickEffect">
                                  <p:stCondLst>
                                    <p:cond delay="0"/>
                                  </p:stCondLst>
                                  <p:childTnLst>
                                    <p:animMotion origin="layout" path="M 0.7862 -0.84305 L 0.7862 -0.06436 " pathEditMode="fixed" rAng="0" ptsTypes="AA">
                                      <p:cBhvr>
                                        <p:cTn id="36" dur="500" fill="hold"/>
                                        <p:tgtEl>
                                          <p:spTgt spid="29"/>
                                        </p:tgtEl>
                                        <p:attrNameLst>
                                          <p:attrName>ppt_x</p:attrName>
                                          <p:attrName>ppt_y</p:attrName>
                                        </p:attrNameLst>
                                      </p:cBhvr>
                                      <p:rCtr x="0" y="38935"/>
                                    </p:animMotion>
                                  </p:childTnLst>
                                </p:cTn>
                              </p:par>
                            </p:childTnLst>
                          </p:cTn>
                        </p:par>
                      </p:childTnLst>
                    </p:cTn>
                  </p:par>
                  <p:par>
                    <p:cTn id="37" fill="hold">
                      <p:stCondLst>
                        <p:cond delay="indefinite"/>
                      </p:stCondLst>
                      <p:childTnLst>
                        <p:par>
                          <p:cTn id="38" fill="hold">
                            <p:stCondLst>
                              <p:cond delay="0"/>
                            </p:stCondLst>
                            <p:childTnLst>
                              <p:par>
                                <p:cTn id="39" presetID="42" presetClass="path" presetSubtype="0" accel="50000" decel="50000" fill="hold" nodeType="clickEffect">
                                  <p:stCondLst>
                                    <p:cond delay="0"/>
                                  </p:stCondLst>
                                  <p:childTnLst>
                                    <p:animMotion origin="layout" path="M 1.00846 0.50903 L 1.00846 1.31158 " pathEditMode="fixed" rAng="0" ptsTypes="AA">
                                      <p:cBhvr>
                                        <p:cTn id="40" dur="1000" spd="-100000" fill="hold"/>
                                        <p:tgtEl>
                                          <p:spTgt spid="23"/>
                                        </p:tgtEl>
                                        <p:attrNameLst>
                                          <p:attrName>ppt_x</p:attrName>
                                          <p:attrName>ppt_y</p:attrName>
                                        </p:attrNameLst>
                                      </p:cBhvr>
                                      <p:rCtr x="0" y="40116"/>
                                    </p:animMotion>
                                  </p:childTnLst>
                                </p:cTn>
                              </p:par>
                            </p:childTnLst>
                          </p:cTn>
                        </p:par>
                      </p:childTnLst>
                    </p:cTn>
                  </p:par>
                  <p:par>
                    <p:cTn id="41" fill="hold">
                      <p:stCondLst>
                        <p:cond delay="indefinite"/>
                      </p:stCondLst>
                      <p:childTnLst>
                        <p:par>
                          <p:cTn id="42" fill="hold">
                            <p:stCondLst>
                              <p:cond delay="0"/>
                            </p:stCondLst>
                            <p:childTnLst>
                              <p:par>
                                <p:cTn id="43" presetID="42" presetClass="path" presetSubtype="0" accel="50000" decel="50000" fill="hold" nodeType="clickEffect">
                                  <p:stCondLst>
                                    <p:cond delay="0"/>
                                  </p:stCondLst>
                                  <p:childTnLst>
                                    <p:animMotion origin="layout" path="M 1.00846 0.50903 L 1.00846 1.30509 " pathEditMode="fixed" rAng="0" ptsTypes="AA">
                                      <p:cBhvr>
                                        <p:cTn id="44" dur="500" fill="hold"/>
                                        <p:tgtEl>
                                          <p:spTgt spid="23"/>
                                        </p:tgtEl>
                                        <p:attrNameLst>
                                          <p:attrName>ppt_x</p:attrName>
                                          <p:attrName>ppt_y</p:attrName>
                                        </p:attrNameLst>
                                      </p:cBhvr>
                                      <p:rCtr x="0" y="39792"/>
                                    </p:animMotion>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nodeType="clickEffect">
                                  <p:stCondLst>
                                    <p:cond delay="0"/>
                                  </p:stCondLst>
                                  <p:childTnLst>
                                    <p:animMotion origin="layout" path="M -0.93451 -0.31991 L -0.93451 0.72963 " pathEditMode="fixed" rAng="0" ptsTypes="AA">
                                      <p:cBhvr>
                                        <p:cTn id="48" dur="1000" spd="-100000" fill="hold"/>
                                        <p:tgtEl>
                                          <p:spTgt spid="36"/>
                                        </p:tgtEl>
                                        <p:attrNameLst>
                                          <p:attrName>ppt_x</p:attrName>
                                          <p:attrName>ppt_y</p:attrName>
                                        </p:attrNameLst>
                                      </p:cBhvr>
                                      <p:rCtr x="0" y="52477"/>
                                    </p:animMotion>
                                  </p:childTnLst>
                                </p:cTn>
                              </p:par>
                            </p:childTnLst>
                          </p:cTn>
                        </p:par>
                      </p:childTnLst>
                    </p:cTn>
                  </p:par>
                  <p:par>
                    <p:cTn id="49" fill="hold">
                      <p:stCondLst>
                        <p:cond delay="indefinite"/>
                      </p:stCondLst>
                      <p:childTnLst>
                        <p:par>
                          <p:cTn id="50" fill="hold">
                            <p:stCondLst>
                              <p:cond delay="0"/>
                            </p:stCondLst>
                            <p:childTnLst>
                              <p:par>
                                <p:cTn id="51" presetID="42" presetClass="path" presetSubtype="0" accel="50000" decel="50000" fill="hold" nodeType="clickEffect">
                                  <p:stCondLst>
                                    <p:cond delay="0"/>
                                  </p:stCondLst>
                                  <p:childTnLst>
                                    <p:animMotion origin="layout" path="M -0.93451 -0.31991 L -0.93451 0.46203 " pathEditMode="fixed" rAng="0" ptsTypes="AA">
                                      <p:cBhvr>
                                        <p:cTn id="52" dur="500" fill="hold"/>
                                        <p:tgtEl>
                                          <p:spTgt spid="36"/>
                                        </p:tgtEl>
                                        <p:attrNameLst>
                                          <p:attrName>ppt_x</p:attrName>
                                          <p:attrName>ppt_y</p:attrName>
                                        </p:attrNameLst>
                                      </p:cBhvr>
                                      <p:rCtr x="0" y="3909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44" name="Graphic 43" descr="Single gear">
            <a:hlinkClick r:id="rId3" action="ppaction://hlinksldjump"/>
            <a:extLst>
              <a:ext uri="{FF2B5EF4-FFF2-40B4-BE49-F238E27FC236}">
                <a16:creationId xmlns:a16="http://schemas.microsoft.com/office/drawing/2014/main" id="{852CEB05-671C-9C41-9B56-CE3D3A915B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7756" y="4363184"/>
            <a:ext cx="724649" cy="724649"/>
          </a:xfrm>
          <a:prstGeom prst="rect">
            <a:avLst/>
          </a:prstGeom>
        </p:spPr>
      </p:pic>
      <p:sp>
        <p:nvSpPr>
          <p:cNvPr id="46" name="TextBox 45">
            <a:extLst>
              <a:ext uri="{FF2B5EF4-FFF2-40B4-BE49-F238E27FC236}">
                <a16:creationId xmlns:a16="http://schemas.microsoft.com/office/drawing/2014/main" id="{81700177-3C7A-8240-9477-5758AF57C67B}"/>
              </a:ext>
            </a:extLst>
          </p:cNvPr>
          <p:cNvSpPr txBox="1"/>
          <p:nvPr/>
        </p:nvSpPr>
        <p:spPr>
          <a:xfrm>
            <a:off x="4323143" y="222403"/>
            <a:ext cx="4509569" cy="584775"/>
          </a:xfrm>
          <a:prstGeom prst="rect">
            <a:avLst/>
          </a:prstGeom>
          <a:noFill/>
        </p:spPr>
        <p:txBody>
          <a:bodyPr wrap="none" rtlCol="0">
            <a:spAutoFit/>
          </a:bodyPr>
          <a:lstStyle/>
          <a:p>
            <a:pPr algn="ctr"/>
            <a:r>
              <a:rPr lang="fr-FR" sz="3200" b="1" spc="300" dirty="0">
                <a:solidFill>
                  <a:schemeClr val="bg1"/>
                </a:solidFill>
                <a:latin typeface="Montserrat" pitchFamily="2" charset="77"/>
              </a:rPr>
              <a:t>PROBLÉMATIQUE</a:t>
            </a:r>
            <a:endParaRPr lang="en-LT" sz="3200" b="1" spc="300" dirty="0">
              <a:solidFill>
                <a:schemeClr val="bg1"/>
              </a:solidFill>
              <a:latin typeface="Montserrat" pitchFamily="2" charset="77"/>
            </a:endParaRPr>
          </a:p>
        </p:txBody>
      </p:sp>
      <p:sp>
        <p:nvSpPr>
          <p:cNvPr id="47" name="TextBox 46">
            <a:extLst>
              <a:ext uri="{FF2B5EF4-FFF2-40B4-BE49-F238E27FC236}">
                <a16:creationId xmlns:a16="http://schemas.microsoft.com/office/drawing/2014/main" id="{F468EA0C-789C-3347-B6A8-E15F5D431AAE}"/>
              </a:ext>
            </a:extLst>
          </p:cNvPr>
          <p:cNvSpPr txBox="1"/>
          <p:nvPr/>
        </p:nvSpPr>
        <p:spPr>
          <a:xfrm>
            <a:off x="2546175" y="2246218"/>
            <a:ext cx="2066591" cy="584775"/>
          </a:xfrm>
          <a:prstGeom prst="rect">
            <a:avLst/>
          </a:prstGeom>
          <a:noFill/>
        </p:spPr>
        <p:txBody>
          <a:bodyPr wrap="none" rtlCol="0">
            <a:spAutoFit/>
          </a:bodyPr>
          <a:lstStyle/>
          <a:p>
            <a:pPr algn="ctr"/>
            <a:r>
              <a:rPr lang="fr-FR" sz="1600" b="1" spc="300" dirty="0">
                <a:solidFill>
                  <a:schemeClr val="bg1"/>
                </a:solidFill>
                <a:latin typeface="Montserrat" pitchFamily="2" charset="77"/>
              </a:rPr>
              <a:t>Gestion du</a:t>
            </a:r>
          </a:p>
          <a:p>
            <a:pPr algn="ctr"/>
            <a:r>
              <a:rPr lang="fr-FR" sz="1600" b="1" spc="300" dirty="0">
                <a:solidFill>
                  <a:schemeClr val="bg1"/>
                </a:solidFill>
                <a:latin typeface="Montserrat" pitchFamily="2" charset="77"/>
              </a:rPr>
              <a:t> Code Source</a:t>
            </a:r>
            <a:endParaRPr lang="en-LT" sz="1600" b="1" spc="300" dirty="0">
              <a:solidFill>
                <a:schemeClr val="bg1"/>
              </a:solidFill>
              <a:latin typeface="Montserrat" pitchFamily="2" charset="77"/>
            </a:endParaRPr>
          </a:p>
        </p:txBody>
      </p:sp>
      <p:sp>
        <p:nvSpPr>
          <p:cNvPr id="49" name="TextBox 48">
            <a:extLst>
              <a:ext uri="{FF2B5EF4-FFF2-40B4-BE49-F238E27FC236}">
                <a16:creationId xmlns:a16="http://schemas.microsoft.com/office/drawing/2014/main" id="{372FC868-5893-B849-9781-55B71CB5CA35}"/>
              </a:ext>
            </a:extLst>
          </p:cNvPr>
          <p:cNvSpPr txBox="1"/>
          <p:nvPr/>
        </p:nvSpPr>
        <p:spPr>
          <a:xfrm>
            <a:off x="2540258" y="4149762"/>
            <a:ext cx="2382382" cy="584775"/>
          </a:xfrm>
          <a:prstGeom prst="rect">
            <a:avLst/>
          </a:prstGeom>
          <a:noFill/>
        </p:spPr>
        <p:txBody>
          <a:bodyPr wrap="none" rtlCol="0">
            <a:spAutoFit/>
          </a:bodyPr>
          <a:lstStyle/>
          <a:p>
            <a:pPr algn="ctr"/>
            <a:r>
              <a:rPr lang="fr-FR" sz="1600" b="1" spc="300" dirty="0">
                <a:solidFill>
                  <a:schemeClr val="bg1"/>
                </a:solidFill>
                <a:latin typeface="Montserrat" pitchFamily="2" charset="77"/>
              </a:rPr>
              <a:t>Historique des </a:t>
            </a:r>
          </a:p>
          <a:p>
            <a:pPr algn="ctr"/>
            <a:r>
              <a:rPr lang="fr-FR" sz="1600" b="1" spc="300" dirty="0">
                <a:solidFill>
                  <a:schemeClr val="bg1"/>
                </a:solidFill>
                <a:latin typeface="Montserrat" pitchFamily="2" charset="77"/>
              </a:rPr>
              <a:t>Modifications</a:t>
            </a:r>
            <a:endParaRPr lang="en-LT" sz="1600" b="1" spc="300" dirty="0">
              <a:solidFill>
                <a:schemeClr val="bg1"/>
              </a:solidFill>
              <a:latin typeface="Montserrat" pitchFamily="2" charset="77"/>
            </a:endParaRPr>
          </a:p>
        </p:txBody>
      </p:sp>
      <p:grpSp>
        <p:nvGrpSpPr>
          <p:cNvPr id="55" name="Graphic 43">
            <a:extLst>
              <a:ext uri="{FF2B5EF4-FFF2-40B4-BE49-F238E27FC236}">
                <a16:creationId xmlns:a16="http://schemas.microsoft.com/office/drawing/2014/main" id="{7251C5B3-8865-8648-8E58-BAEDD8F0A253}"/>
              </a:ext>
            </a:extLst>
          </p:cNvPr>
          <p:cNvGrpSpPr/>
          <p:nvPr/>
        </p:nvGrpSpPr>
        <p:grpSpPr>
          <a:xfrm rot="269299" flipV="1">
            <a:off x="7472552" y="2216626"/>
            <a:ext cx="1458826" cy="482830"/>
            <a:chOff x="5270499" y="2952750"/>
            <a:chExt cx="1652160" cy="946643"/>
          </a:xfrm>
          <a:solidFill>
            <a:schemeClr val="bg1"/>
          </a:solidFill>
        </p:grpSpPr>
        <p:sp>
          <p:nvSpPr>
            <p:cNvPr id="56" name="Freeform 55">
              <a:extLst>
                <a:ext uri="{FF2B5EF4-FFF2-40B4-BE49-F238E27FC236}">
                  <a16:creationId xmlns:a16="http://schemas.microsoft.com/office/drawing/2014/main" id="{CE452365-C244-BF4D-A93C-1012104124F4}"/>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57" name="Freeform 56">
              <a:extLst>
                <a:ext uri="{FF2B5EF4-FFF2-40B4-BE49-F238E27FC236}">
                  <a16:creationId xmlns:a16="http://schemas.microsoft.com/office/drawing/2014/main" id="{9431269C-929B-314E-BC39-0CFAAC0D8CF7}"/>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58" name="Graphic 43">
            <a:extLst>
              <a:ext uri="{FF2B5EF4-FFF2-40B4-BE49-F238E27FC236}">
                <a16:creationId xmlns:a16="http://schemas.microsoft.com/office/drawing/2014/main" id="{B84ECF4B-84E3-DF4E-BB6E-F86CFBFD7053}"/>
              </a:ext>
            </a:extLst>
          </p:cNvPr>
          <p:cNvGrpSpPr/>
          <p:nvPr/>
        </p:nvGrpSpPr>
        <p:grpSpPr>
          <a:xfrm rot="2571606" flipV="1">
            <a:off x="7508322" y="3180122"/>
            <a:ext cx="1356455" cy="777212"/>
            <a:chOff x="5270499" y="2952750"/>
            <a:chExt cx="1652160" cy="946643"/>
          </a:xfrm>
          <a:solidFill>
            <a:schemeClr val="bg1"/>
          </a:solidFill>
        </p:grpSpPr>
        <p:sp>
          <p:nvSpPr>
            <p:cNvPr id="59" name="Freeform 58">
              <a:extLst>
                <a:ext uri="{FF2B5EF4-FFF2-40B4-BE49-F238E27FC236}">
                  <a16:creationId xmlns:a16="http://schemas.microsoft.com/office/drawing/2014/main" id="{11D38C79-8A61-2042-9F8F-3234681A1F9B}"/>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0" name="Freeform 59">
              <a:extLst>
                <a:ext uri="{FF2B5EF4-FFF2-40B4-BE49-F238E27FC236}">
                  <a16:creationId xmlns:a16="http://schemas.microsoft.com/office/drawing/2014/main" id="{167C7498-97A4-3C48-B861-751AED3F611E}"/>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67" name="Graphic 66">
            <a:extLst>
              <a:ext uri="{FF2B5EF4-FFF2-40B4-BE49-F238E27FC236}">
                <a16:creationId xmlns:a16="http://schemas.microsoft.com/office/drawing/2014/main" id="{C133E10E-E8E2-E24B-95CA-FAC2C3B4DF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540000">
            <a:off x="4398937" y="805513"/>
            <a:ext cx="4479188" cy="161337"/>
          </a:xfrm>
          <a:prstGeom prst="rect">
            <a:avLst/>
          </a:prstGeom>
        </p:spPr>
      </p:pic>
      <p:sp>
        <p:nvSpPr>
          <p:cNvPr id="70" name="Freeform 69">
            <a:extLst>
              <a:ext uri="{FF2B5EF4-FFF2-40B4-BE49-F238E27FC236}">
                <a16:creationId xmlns:a16="http://schemas.microsoft.com/office/drawing/2014/main" id="{26CFC472-6F3F-3C42-B894-6D32D8D42C32}"/>
              </a:ext>
            </a:extLst>
          </p:cNvPr>
          <p:cNvSpPr/>
          <p:nvPr/>
        </p:nvSpPr>
        <p:spPr>
          <a:xfrm>
            <a:off x="5665563" y="3080611"/>
            <a:ext cx="1486586" cy="1387694"/>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pic>
        <p:nvPicPr>
          <p:cNvPr id="3" name="Graphique 2" descr="Point d’exclamation">
            <a:extLst>
              <a:ext uri="{FF2B5EF4-FFF2-40B4-BE49-F238E27FC236}">
                <a16:creationId xmlns:a16="http://schemas.microsoft.com/office/drawing/2014/main" id="{D408C736-B46B-4B81-90A6-BA4F5A7C02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68852" y="3288757"/>
            <a:ext cx="1134750" cy="1134750"/>
          </a:xfrm>
          <a:prstGeom prst="rect">
            <a:avLst/>
          </a:prstGeom>
        </p:spPr>
      </p:pic>
      <p:sp>
        <p:nvSpPr>
          <p:cNvPr id="142" name="Freeform 69">
            <a:extLst>
              <a:ext uri="{FF2B5EF4-FFF2-40B4-BE49-F238E27FC236}">
                <a16:creationId xmlns:a16="http://schemas.microsoft.com/office/drawing/2014/main" id="{B07B27A9-B6B7-4266-A362-9D50A7DF28B9}"/>
              </a:ext>
            </a:extLst>
          </p:cNvPr>
          <p:cNvSpPr/>
          <p:nvPr/>
        </p:nvSpPr>
        <p:spPr>
          <a:xfrm>
            <a:off x="3252456" y="1360623"/>
            <a:ext cx="827568" cy="802803"/>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pic>
        <p:nvPicPr>
          <p:cNvPr id="143" name="Graphique 142" descr="Point d’exclamation">
            <a:extLst>
              <a:ext uri="{FF2B5EF4-FFF2-40B4-BE49-F238E27FC236}">
                <a16:creationId xmlns:a16="http://schemas.microsoft.com/office/drawing/2014/main" id="{F344D342-B52E-418D-8571-63B7080032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37115" y="1418941"/>
            <a:ext cx="631704" cy="631704"/>
          </a:xfrm>
          <a:prstGeom prst="rect">
            <a:avLst/>
          </a:prstGeom>
        </p:spPr>
      </p:pic>
      <p:sp>
        <p:nvSpPr>
          <p:cNvPr id="148" name="Freeform 69">
            <a:extLst>
              <a:ext uri="{FF2B5EF4-FFF2-40B4-BE49-F238E27FC236}">
                <a16:creationId xmlns:a16="http://schemas.microsoft.com/office/drawing/2014/main" id="{84D886FB-74E4-48CF-89A4-63821B3B38A0}"/>
              </a:ext>
            </a:extLst>
          </p:cNvPr>
          <p:cNvSpPr/>
          <p:nvPr/>
        </p:nvSpPr>
        <p:spPr>
          <a:xfrm>
            <a:off x="3200409" y="3195293"/>
            <a:ext cx="879615" cy="853292"/>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pic>
        <p:nvPicPr>
          <p:cNvPr id="149" name="Graphique 148" descr="Point d’exclamation">
            <a:extLst>
              <a:ext uri="{FF2B5EF4-FFF2-40B4-BE49-F238E27FC236}">
                <a16:creationId xmlns:a16="http://schemas.microsoft.com/office/drawing/2014/main" id="{8EE5D01F-023C-43EC-BDB7-E02164AFCAC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12262" y="3313062"/>
            <a:ext cx="671433" cy="671433"/>
          </a:xfrm>
          <a:prstGeom prst="rect">
            <a:avLst/>
          </a:prstGeom>
        </p:spPr>
      </p:pic>
      <p:sp>
        <p:nvSpPr>
          <p:cNvPr id="173" name="Freeform 60">
            <a:extLst>
              <a:ext uri="{FF2B5EF4-FFF2-40B4-BE49-F238E27FC236}">
                <a16:creationId xmlns:a16="http://schemas.microsoft.com/office/drawing/2014/main" id="{A8F0989F-49CE-4898-A68F-9EDB5F97790A}"/>
              </a:ext>
            </a:extLst>
          </p:cNvPr>
          <p:cNvSpPr/>
          <p:nvPr/>
        </p:nvSpPr>
        <p:spPr>
          <a:xfrm>
            <a:off x="0" y="-9807821"/>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grpSp>
        <p:nvGrpSpPr>
          <p:cNvPr id="174" name="Group 45">
            <a:extLst>
              <a:ext uri="{FF2B5EF4-FFF2-40B4-BE49-F238E27FC236}">
                <a16:creationId xmlns:a16="http://schemas.microsoft.com/office/drawing/2014/main" id="{870A0A22-675D-473F-8995-8C11188353D7}"/>
              </a:ext>
            </a:extLst>
          </p:cNvPr>
          <p:cNvGrpSpPr/>
          <p:nvPr/>
        </p:nvGrpSpPr>
        <p:grpSpPr>
          <a:xfrm>
            <a:off x="-835063" y="494367"/>
            <a:ext cx="827568" cy="828000"/>
            <a:chOff x="-842559" y="468160"/>
            <a:chExt cx="827568" cy="828000"/>
          </a:xfrm>
        </p:grpSpPr>
        <p:sp>
          <p:nvSpPr>
            <p:cNvPr id="175" name="Oval 46">
              <a:extLst>
                <a:ext uri="{FF2B5EF4-FFF2-40B4-BE49-F238E27FC236}">
                  <a16:creationId xmlns:a16="http://schemas.microsoft.com/office/drawing/2014/main" id="{29B7192D-F665-49CA-AD42-C737E4BEBBA0}"/>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76" name="Graphic 47" descr="Lightbulb">
              <a:extLst>
                <a:ext uri="{FF2B5EF4-FFF2-40B4-BE49-F238E27FC236}">
                  <a16:creationId xmlns:a16="http://schemas.microsoft.com/office/drawing/2014/main" id="{0E2F31A8-2BE0-4A7B-8BB8-389F6FF9683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0293" y="530642"/>
              <a:ext cx="703036" cy="703036"/>
            </a:xfrm>
            <a:prstGeom prst="rect">
              <a:avLst/>
            </a:prstGeom>
          </p:spPr>
        </p:pic>
      </p:grpSp>
      <p:grpSp>
        <p:nvGrpSpPr>
          <p:cNvPr id="177" name="Group 48">
            <a:extLst>
              <a:ext uri="{FF2B5EF4-FFF2-40B4-BE49-F238E27FC236}">
                <a16:creationId xmlns:a16="http://schemas.microsoft.com/office/drawing/2014/main" id="{3DED0532-E9DB-4A36-8348-6BF0F895DBA4}"/>
              </a:ext>
            </a:extLst>
          </p:cNvPr>
          <p:cNvGrpSpPr/>
          <p:nvPr/>
        </p:nvGrpSpPr>
        <p:grpSpPr>
          <a:xfrm>
            <a:off x="844764" y="1742764"/>
            <a:ext cx="827568" cy="828000"/>
            <a:chOff x="-842559" y="1741580"/>
            <a:chExt cx="827568" cy="828000"/>
          </a:xfrm>
        </p:grpSpPr>
        <p:sp>
          <p:nvSpPr>
            <p:cNvPr id="178" name="Oval 49">
              <a:extLst>
                <a:ext uri="{FF2B5EF4-FFF2-40B4-BE49-F238E27FC236}">
                  <a16:creationId xmlns:a16="http://schemas.microsoft.com/office/drawing/2014/main" id="{9E7E1643-AC67-4F34-9FDA-D53D991967A6}"/>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79" name="Graphic 50" descr="Point d’exclamation">
              <a:extLst>
                <a:ext uri="{FF2B5EF4-FFF2-40B4-BE49-F238E27FC236}">
                  <a16:creationId xmlns:a16="http://schemas.microsoft.com/office/drawing/2014/main" id="{3A80B62B-A57A-4A44-BC5B-1C41824E68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4943" y="1849412"/>
              <a:ext cx="612336" cy="612336"/>
            </a:xfrm>
            <a:prstGeom prst="rect">
              <a:avLst/>
            </a:prstGeom>
          </p:spPr>
        </p:pic>
      </p:grpSp>
      <p:grpSp>
        <p:nvGrpSpPr>
          <p:cNvPr id="180" name="Group 51">
            <a:extLst>
              <a:ext uri="{FF2B5EF4-FFF2-40B4-BE49-F238E27FC236}">
                <a16:creationId xmlns:a16="http://schemas.microsoft.com/office/drawing/2014/main" id="{D7B20F8B-FABB-4C7A-9DFE-FB6D0F2546D6}"/>
              </a:ext>
            </a:extLst>
          </p:cNvPr>
          <p:cNvGrpSpPr/>
          <p:nvPr/>
        </p:nvGrpSpPr>
        <p:grpSpPr>
          <a:xfrm>
            <a:off x="-842559" y="4288420"/>
            <a:ext cx="827568" cy="828000"/>
            <a:chOff x="-842559" y="4288420"/>
            <a:chExt cx="827568" cy="828000"/>
          </a:xfrm>
        </p:grpSpPr>
        <p:sp>
          <p:nvSpPr>
            <p:cNvPr id="181" name="Oval 52">
              <a:extLst>
                <a:ext uri="{FF2B5EF4-FFF2-40B4-BE49-F238E27FC236}">
                  <a16:creationId xmlns:a16="http://schemas.microsoft.com/office/drawing/2014/main" id="{B06E0371-076B-4C3B-8644-E4BCE5BDB506}"/>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82" name="Graphic 53" descr="Single gear">
              <a:extLst>
                <a:ext uri="{FF2B5EF4-FFF2-40B4-BE49-F238E27FC236}">
                  <a16:creationId xmlns:a16="http://schemas.microsoft.com/office/drawing/2014/main" id="{4F8B1D7D-9640-4A87-8704-2AD26117E4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0293" y="4363185"/>
              <a:ext cx="724649" cy="724649"/>
            </a:xfrm>
            <a:prstGeom prst="rect">
              <a:avLst/>
            </a:prstGeom>
          </p:spPr>
        </p:pic>
      </p:grpSp>
      <p:grpSp>
        <p:nvGrpSpPr>
          <p:cNvPr id="183" name="Group 54">
            <a:extLst>
              <a:ext uri="{FF2B5EF4-FFF2-40B4-BE49-F238E27FC236}">
                <a16:creationId xmlns:a16="http://schemas.microsoft.com/office/drawing/2014/main" id="{C8AA5E70-6D86-4159-AF0C-D9547F21DA5C}"/>
              </a:ext>
            </a:extLst>
          </p:cNvPr>
          <p:cNvGrpSpPr/>
          <p:nvPr/>
        </p:nvGrpSpPr>
        <p:grpSpPr>
          <a:xfrm>
            <a:off x="-842559" y="5561839"/>
            <a:ext cx="827568" cy="828000"/>
            <a:chOff x="-842559" y="5561839"/>
            <a:chExt cx="827568" cy="828000"/>
          </a:xfrm>
        </p:grpSpPr>
        <p:sp>
          <p:nvSpPr>
            <p:cNvPr id="184" name="Oval 55">
              <a:extLst>
                <a:ext uri="{FF2B5EF4-FFF2-40B4-BE49-F238E27FC236}">
                  <a16:creationId xmlns:a16="http://schemas.microsoft.com/office/drawing/2014/main" id="{64F8D132-A0CE-46BE-BF1E-F33271FD8738}"/>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85" name="Graphic 56">
              <a:hlinkClick r:id="rId16" action="ppaction://hlinksldjump"/>
              <a:extLst>
                <a:ext uri="{FF2B5EF4-FFF2-40B4-BE49-F238E27FC236}">
                  <a16:creationId xmlns:a16="http://schemas.microsoft.com/office/drawing/2014/main" id="{30F0E05C-7F32-4D4F-AD71-6C896DF9E6D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03937" y="5699151"/>
              <a:ext cx="606039" cy="538701"/>
            </a:xfrm>
            <a:prstGeom prst="rect">
              <a:avLst/>
            </a:prstGeom>
          </p:spPr>
        </p:pic>
      </p:grpSp>
      <p:grpSp>
        <p:nvGrpSpPr>
          <p:cNvPr id="186" name="Group 57">
            <a:extLst>
              <a:ext uri="{FF2B5EF4-FFF2-40B4-BE49-F238E27FC236}">
                <a16:creationId xmlns:a16="http://schemas.microsoft.com/office/drawing/2014/main" id="{003287CC-8580-42F2-B768-0412731B7C5C}"/>
              </a:ext>
            </a:extLst>
          </p:cNvPr>
          <p:cNvGrpSpPr/>
          <p:nvPr/>
        </p:nvGrpSpPr>
        <p:grpSpPr>
          <a:xfrm>
            <a:off x="-842559" y="3015000"/>
            <a:ext cx="827568" cy="828000"/>
            <a:chOff x="-837416" y="3015000"/>
            <a:chExt cx="827568" cy="828000"/>
          </a:xfrm>
        </p:grpSpPr>
        <p:sp>
          <p:nvSpPr>
            <p:cNvPr id="187" name="Oval 58">
              <a:extLst>
                <a:ext uri="{FF2B5EF4-FFF2-40B4-BE49-F238E27FC236}">
                  <a16:creationId xmlns:a16="http://schemas.microsoft.com/office/drawing/2014/main" id="{41BE9B64-D07B-4DC2-B949-0BCC79520C0E}"/>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88" name="Graphic 59">
              <a:extLst>
                <a:ext uri="{FF2B5EF4-FFF2-40B4-BE49-F238E27FC236}">
                  <a16:creationId xmlns:a16="http://schemas.microsoft.com/office/drawing/2014/main" id="{09E51C60-A1B1-49B0-A7DB-68C63C97909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13670" y="3111959"/>
              <a:ext cx="620915" cy="620915"/>
            </a:xfrm>
            <a:prstGeom prst="rect">
              <a:avLst/>
            </a:prstGeom>
          </p:spPr>
        </p:pic>
      </p:grpSp>
      <p:pic>
        <p:nvPicPr>
          <p:cNvPr id="189" name="Graphic 61" descr="Lightbulb">
            <a:hlinkClick r:id="rId21" action="ppaction://hlinksldjump"/>
            <a:extLst>
              <a:ext uri="{FF2B5EF4-FFF2-40B4-BE49-F238E27FC236}">
                <a16:creationId xmlns:a16="http://schemas.microsoft.com/office/drawing/2014/main" id="{FCF8B254-776A-42D4-893A-18DF2D991A3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77756" y="530641"/>
            <a:ext cx="703036" cy="703036"/>
          </a:xfrm>
          <a:prstGeom prst="rect">
            <a:avLst/>
          </a:prstGeom>
        </p:spPr>
      </p:pic>
      <p:pic>
        <p:nvPicPr>
          <p:cNvPr id="190" name="Graphic 62" descr="Upward trend">
            <a:hlinkClick r:id="rId24" action="ppaction://hlinksldjump"/>
            <a:extLst>
              <a:ext uri="{FF2B5EF4-FFF2-40B4-BE49-F238E27FC236}">
                <a16:creationId xmlns:a16="http://schemas.microsoft.com/office/drawing/2014/main" id="{28CAACBA-E52E-42B3-92D1-DD8E62F9FA68}"/>
              </a:ext>
            </a:extLst>
          </p:cNvPr>
          <p:cNvPicPr>
            <a:picLocks noChangeAspect="1"/>
          </p:cNvPicPr>
          <p:nvPr/>
        </p:nvPicPr>
        <p:blipFill>
          <a:blip r:embed="rId4">
            <a:extLst>
              <a:ext uri="{96DAC541-7B7A-43D3-8B79-37D633B846F1}">
                <asvg:svgBlip xmlns:asvg="http://schemas.microsoft.com/office/drawing/2016/SVG/main" r:embed="rId25"/>
              </a:ext>
            </a:extLst>
          </a:blip>
          <a:stretch>
            <a:fillRect/>
          </a:stretch>
        </p:blipFill>
        <p:spPr>
          <a:xfrm>
            <a:off x="323106" y="1849411"/>
            <a:ext cx="612336" cy="612336"/>
          </a:xfrm>
          <a:prstGeom prst="rect">
            <a:avLst/>
          </a:prstGeom>
        </p:spPr>
      </p:pic>
      <p:pic>
        <p:nvPicPr>
          <p:cNvPr id="191" name="Graphic 63">
            <a:hlinkClick r:id="rId26" action="ppaction://hlinksldjump"/>
            <a:extLst>
              <a:ext uri="{FF2B5EF4-FFF2-40B4-BE49-F238E27FC236}">
                <a16:creationId xmlns:a16="http://schemas.microsoft.com/office/drawing/2014/main" id="{514AE0BA-14F1-41EA-9F8A-CC29D531523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59877" y="3065464"/>
            <a:ext cx="620915" cy="620915"/>
          </a:xfrm>
          <a:prstGeom prst="rect">
            <a:avLst/>
          </a:prstGeom>
        </p:spPr>
      </p:pic>
      <p:pic>
        <p:nvPicPr>
          <p:cNvPr id="192" name="Graphic 64" descr="Single gear">
            <a:hlinkClick r:id="rId3" action="ppaction://hlinksldjump"/>
            <a:extLst>
              <a:ext uri="{FF2B5EF4-FFF2-40B4-BE49-F238E27FC236}">
                <a16:creationId xmlns:a16="http://schemas.microsoft.com/office/drawing/2014/main" id="{97488EAB-BED2-4860-A1D8-F6CE68947C5E}"/>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77756" y="4363184"/>
            <a:ext cx="724649" cy="724649"/>
          </a:xfrm>
          <a:prstGeom prst="rect">
            <a:avLst/>
          </a:prstGeom>
        </p:spPr>
      </p:pic>
      <p:pic>
        <p:nvPicPr>
          <p:cNvPr id="193" name="Graphic 65">
            <a:hlinkClick r:id="rId16" action="ppaction://hlinksldjump"/>
            <a:extLst>
              <a:ext uri="{FF2B5EF4-FFF2-40B4-BE49-F238E27FC236}">
                <a16:creationId xmlns:a16="http://schemas.microsoft.com/office/drawing/2014/main" id="{93C1658B-CFA5-4C16-871D-47C1B3151558}"/>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57940" y="5692106"/>
            <a:ext cx="564279" cy="501581"/>
          </a:xfrm>
          <a:prstGeom prst="rect">
            <a:avLst/>
          </a:prstGeom>
        </p:spPr>
      </p:pic>
      <p:sp>
        <p:nvSpPr>
          <p:cNvPr id="194" name="TextBox 46">
            <a:extLst>
              <a:ext uri="{FF2B5EF4-FFF2-40B4-BE49-F238E27FC236}">
                <a16:creationId xmlns:a16="http://schemas.microsoft.com/office/drawing/2014/main" id="{F59F70E9-351D-432A-B7F6-F104E5D20442}"/>
              </a:ext>
            </a:extLst>
          </p:cNvPr>
          <p:cNvSpPr txBox="1"/>
          <p:nvPr/>
        </p:nvSpPr>
        <p:spPr>
          <a:xfrm>
            <a:off x="2574049" y="5825504"/>
            <a:ext cx="2140330" cy="584775"/>
          </a:xfrm>
          <a:prstGeom prst="rect">
            <a:avLst/>
          </a:prstGeom>
          <a:noFill/>
        </p:spPr>
        <p:txBody>
          <a:bodyPr wrap="none" rtlCol="0">
            <a:spAutoFit/>
          </a:bodyPr>
          <a:lstStyle/>
          <a:p>
            <a:pPr algn="ctr"/>
            <a:r>
              <a:rPr lang="fr-FR" sz="1600" b="1" spc="300" dirty="0">
                <a:solidFill>
                  <a:schemeClr val="bg1"/>
                </a:solidFill>
                <a:latin typeface="Montserrat" pitchFamily="2" charset="77"/>
              </a:rPr>
              <a:t>Collaboration</a:t>
            </a:r>
          </a:p>
          <a:p>
            <a:pPr algn="ctr"/>
            <a:r>
              <a:rPr lang="fr-FR" sz="1600" b="1" spc="300" dirty="0">
                <a:solidFill>
                  <a:schemeClr val="bg1"/>
                </a:solidFill>
                <a:latin typeface="Montserrat" pitchFamily="2" charset="77"/>
              </a:rPr>
              <a:t> d'Équipe</a:t>
            </a:r>
            <a:endParaRPr lang="en-LT" sz="1600" b="1" spc="300" dirty="0">
              <a:solidFill>
                <a:schemeClr val="bg1"/>
              </a:solidFill>
              <a:latin typeface="Montserrat" pitchFamily="2" charset="77"/>
            </a:endParaRPr>
          </a:p>
        </p:txBody>
      </p:sp>
      <p:sp>
        <p:nvSpPr>
          <p:cNvPr id="198" name="Freeform 69">
            <a:extLst>
              <a:ext uri="{FF2B5EF4-FFF2-40B4-BE49-F238E27FC236}">
                <a16:creationId xmlns:a16="http://schemas.microsoft.com/office/drawing/2014/main" id="{156D5997-D803-4F6C-BA4A-7AEDAACA39FF}"/>
              </a:ext>
            </a:extLst>
          </p:cNvPr>
          <p:cNvSpPr/>
          <p:nvPr/>
        </p:nvSpPr>
        <p:spPr>
          <a:xfrm>
            <a:off x="3247224" y="4921524"/>
            <a:ext cx="827568" cy="802803"/>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pic>
        <p:nvPicPr>
          <p:cNvPr id="199" name="Graphique 198" descr="Point d’exclamation">
            <a:extLst>
              <a:ext uri="{FF2B5EF4-FFF2-40B4-BE49-F238E27FC236}">
                <a16:creationId xmlns:a16="http://schemas.microsoft.com/office/drawing/2014/main" id="{0EA3BFBB-3816-43B4-B5B7-61DD1DA32C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59077" y="5039294"/>
            <a:ext cx="631704" cy="631704"/>
          </a:xfrm>
          <a:prstGeom prst="rect">
            <a:avLst/>
          </a:prstGeom>
        </p:spPr>
      </p:pic>
      <p:grpSp>
        <p:nvGrpSpPr>
          <p:cNvPr id="202" name="Graphic 43">
            <a:extLst>
              <a:ext uri="{FF2B5EF4-FFF2-40B4-BE49-F238E27FC236}">
                <a16:creationId xmlns:a16="http://schemas.microsoft.com/office/drawing/2014/main" id="{3127CB35-E710-42DA-B997-BA0520FFC1A9}"/>
              </a:ext>
            </a:extLst>
          </p:cNvPr>
          <p:cNvGrpSpPr/>
          <p:nvPr/>
        </p:nvGrpSpPr>
        <p:grpSpPr>
          <a:xfrm rot="8117835" flipV="1">
            <a:off x="6224692" y="4679410"/>
            <a:ext cx="540466" cy="440045"/>
            <a:chOff x="5270499" y="2952750"/>
            <a:chExt cx="1652160" cy="946643"/>
          </a:xfrm>
          <a:solidFill>
            <a:schemeClr val="bg1"/>
          </a:solidFill>
        </p:grpSpPr>
        <p:sp>
          <p:nvSpPr>
            <p:cNvPr id="203" name="Freeform 58">
              <a:extLst>
                <a:ext uri="{FF2B5EF4-FFF2-40B4-BE49-F238E27FC236}">
                  <a16:creationId xmlns:a16="http://schemas.microsoft.com/office/drawing/2014/main" id="{92A2FD2B-CA7A-4FA3-B13E-7E4C13D720C5}"/>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dirty="0"/>
            </a:p>
          </p:txBody>
        </p:sp>
        <p:sp>
          <p:nvSpPr>
            <p:cNvPr id="204" name="Freeform 59">
              <a:extLst>
                <a:ext uri="{FF2B5EF4-FFF2-40B4-BE49-F238E27FC236}">
                  <a16:creationId xmlns:a16="http://schemas.microsoft.com/office/drawing/2014/main" id="{75166CBD-7270-40B5-98AB-44BDDCC2C802}"/>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205" name="Graphic 43">
            <a:extLst>
              <a:ext uri="{FF2B5EF4-FFF2-40B4-BE49-F238E27FC236}">
                <a16:creationId xmlns:a16="http://schemas.microsoft.com/office/drawing/2014/main" id="{4ABA2018-5DCE-4188-B14D-ED78EDDC6DE9}"/>
              </a:ext>
            </a:extLst>
          </p:cNvPr>
          <p:cNvGrpSpPr/>
          <p:nvPr/>
        </p:nvGrpSpPr>
        <p:grpSpPr>
          <a:xfrm rot="17916625" flipH="1" flipV="1">
            <a:off x="4518783" y="5025193"/>
            <a:ext cx="1117803" cy="422902"/>
            <a:chOff x="5270499" y="2952750"/>
            <a:chExt cx="1652160" cy="946643"/>
          </a:xfrm>
          <a:solidFill>
            <a:schemeClr val="bg1"/>
          </a:solidFill>
        </p:grpSpPr>
        <p:sp>
          <p:nvSpPr>
            <p:cNvPr id="206" name="Freeform 61">
              <a:extLst>
                <a:ext uri="{FF2B5EF4-FFF2-40B4-BE49-F238E27FC236}">
                  <a16:creationId xmlns:a16="http://schemas.microsoft.com/office/drawing/2014/main" id="{752EF08F-5775-4408-9B78-4833F197B450}"/>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207" name="Freeform 62">
              <a:extLst>
                <a:ext uri="{FF2B5EF4-FFF2-40B4-BE49-F238E27FC236}">
                  <a16:creationId xmlns:a16="http://schemas.microsoft.com/office/drawing/2014/main" id="{C3594B3D-97DE-4298-A01B-C7BA53F46B8A}"/>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208" name="Graphic 43">
            <a:extLst>
              <a:ext uri="{FF2B5EF4-FFF2-40B4-BE49-F238E27FC236}">
                <a16:creationId xmlns:a16="http://schemas.microsoft.com/office/drawing/2014/main" id="{923B31D6-79C2-4179-B78B-0978CCE66FD5}"/>
              </a:ext>
            </a:extLst>
          </p:cNvPr>
          <p:cNvGrpSpPr/>
          <p:nvPr/>
        </p:nvGrpSpPr>
        <p:grpSpPr>
          <a:xfrm rot="21062493" flipH="1" flipV="1">
            <a:off x="4742121" y="2402761"/>
            <a:ext cx="941519" cy="422902"/>
            <a:chOff x="5270499" y="2952750"/>
            <a:chExt cx="1652160" cy="946643"/>
          </a:xfrm>
          <a:solidFill>
            <a:schemeClr val="bg1"/>
          </a:solidFill>
        </p:grpSpPr>
        <p:sp>
          <p:nvSpPr>
            <p:cNvPr id="209" name="Freeform 61">
              <a:extLst>
                <a:ext uri="{FF2B5EF4-FFF2-40B4-BE49-F238E27FC236}">
                  <a16:creationId xmlns:a16="http://schemas.microsoft.com/office/drawing/2014/main" id="{FEE1C504-D191-4140-8037-68CA2BB45CE9}"/>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210" name="Freeform 62">
              <a:extLst>
                <a:ext uri="{FF2B5EF4-FFF2-40B4-BE49-F238E27FC236}">
                  <a16:creationId xmlns:a16="http://schemas.microsoft.com/office/drawing/2014/main" id="{9B813C96-49B2-4A63-8235-E3894C20E04A}"/>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211" name="Graphic 43">
            <a:extLst>
              <a:ext uri="{FF2B5EF4-FFF2-40B4-BE49-F238E27FC236}">
                <a16:creationId xmlns:a16="http://schemas.microsoft.com/office/drawing/2014/main" id="{F753DF13-46BB-4976-8F28-932F3C2BDA10}"/>
              </a:ext>
            </a:extLst>
          </p:cNvPr>
          <p:cNvGrpSpPr/>
          <p:nvPr/>
        </p:nvGrpSpPr>
        <p:grpSpPr>
          <a:xfrm rot="18810208" flipH="1" flipV="1">
            <a:off x="4206965" y="3567295"/>
            <a:ext cx="1056419" cy="504812"/>
            <a:chOff x="5270499" y="2952750"/>
            <a:chExt cx="1652160" cy="946643"/>
          </a:xfrm>
          <a:solidFill>
            <a:schemeClr val="bg1"/>
          </a:solidFill>
        </p:grpSpPr>
        <p:sp>
          <p:nvSpPr>
            <p:cNvPr id="212" name="Freeform 61">
              <a:extLst>
                <a:ext uri="{FF2B5EF4-FFF2-40B4-BE49-F238E27FC236}">
                  <a16:creationId xmlns:a16="http://schemas.microsoft.com/office/drawing/2014/main" id="{053B232A-CD24-4FDD-BD4C-241269273B67}"/>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213" name="Freeform 62">
              <a:extLst>
                <a:ext uri="{FF2B5EF4-FFF2-40B4-BE49-F238E27FC236}">
                  <a16:creationId xmlns:a16="http://schemas.microsoft.com/office/drawing/2014/main" id="{D5640E09-4103-4202-924D-C43FEFEA1932}"/>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sp>
        <p:nvSpPr>
          <p:cNvPr id="214" name="TextBox 46">
            <a:extLst>
              <a:ext uri="{FF2B5EF4-FFF2-40B4-BE49-F238E27FC236}">
                <a16:creationId xmlns:a16="http://schemas.microsoft.com/office/drawing/2014/main" id="{FE937C8A-0BF7-4767-80A3-B0EAA75368CE}"/>
              </a:ext>
            </a:extLst>
          </p:cNvPr>
          <p:cNvSpPr txBox="1"/>
          <p:nvPr/>
        </p:nvSpPr>
        <p:spPr>
          <a:xfrm>
            <a:off x="5293056" y="6194685"/>
            <a:ext cx="2342308" cy="584775"/>
          </a:xfrm>
          <a:prstGeom prst="rect">
            <a:avLst/>
          </a:prstGeom>
          <a:noFill/>
        </p:spPr>
        <p:txBody>
          <a:bodyPr wrap="none" rtlCol="0">
            <a:spAutoFit/>
          </a:bodyPr>
          <a:lstStyle/>
          <a:p>
            <a:pPr algn="ctr"/>
            <a:r>
              <a:rPr lang="fr-FR" sz="1600" b="1" spc="300" dirty="0">
                <a:solidFill>
                  <a:schemeClr val="bg1"/>
                </a:solidFill>
                <a:latin typeface="Montserrat" pitchFamily="2" charset="77"/>
              </a:rPr>
              <a:t>Sauvegarde et </a:t>
            </a:r>
          </a:p>
          <a:p>
            <a:pPr algn="ctr"/>
            <a:r>
              <a:rPr lang="fr-FR" sz="1600" b="1" spc="300" dirty="0">
                <a:solidFill>
                  <a:schemeClr val="bg1"/>
                </a:solidFill>
                <a:latin typeface="Montserrat" pitchFamily="2" charset="77"/>
              </a:rPr>
              <a:t>Restauration</a:t>
            </a:r>
            <a:endParaRPr lang="en-LT" sz="1600" b="1" spc="300" dirty="0">
              <a:solidFill>
                <a:schemeClr val="bg1"/>
              </a:solidFill>
              <a:latin typeface="Montserrat" pitchFamily="2" charset="77"/>
            </a:endParaRPr>
          </a:p>
        </p:txBody>
      </p:sp>
      <p:sp>
        <p:nvSpPr>
          <p:cNvPr id="215" name="Freeform 69">
            <a:extLst>
              <a:ext uri="{FF2B5EF4-FFF2-40B4-BE49-F238E27FC236}">
                <a16:creationId xmlns:a16="http://schemas.microsoft.com/office/drawing/2014/main" id="{7D07E548-B675-4A74-8622-9C811F9DBEF1}"/>
              </a:ext>
            </a:extLst>
          </p:cNvPr>
          <p:cNvSpPr/>
          <p:nvPr/>
        </p:nvSpPr>
        <p:spPr>
          <a:xfrm>
            <a:off x="6067220" y="5290705"/>
            <a:ext cx="827568" cy="802803"/>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pic>
        <p:nvPicPr>
          <p:cNvPr id="216" name="Graphique 215" descr="Point d’exclamation">
            <a:extLst>
              <a:ext uri="{FF2B5EF4-FFF2-40B4-BE49-F238E27FC236}">
                <a16:creationId xmlns:a16="http://schemas.microsoft.com/office/drawing/2014/main" id="{1B21865D-CE36-4CCF-8B4E-152F1619A5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79073" y="5408475"/>
            <a:ext cx="631704" cy="631704"/>
          </a:xfrm>
          <a:prstGeom prst="rect">
            <a:avLst/>
          </a:prstGeom>
        </p:spPr>
      </p:pic>
      <p:sp>
        <p:nvSpPr>
          <p:cNvPr id="217" name="TextBox 46">
            <a:extLst>
              <a:ext uri="{FF2B5EF4-FFF2-40B4-BE49-F238E27FC236}">
                <a16:creationId xmlns:a16="http://schemas.microsoft.com/office/drawing/2014/main" id="{CB0D0211-C2A7-407C-9066-08296D361E79}"/>
              </a:ext>
            </a:extLst>
          </p:cNvPr>
          <p:cNvSpPr txBox="1"/>
          <p:nvPr/>
        </p:nvSpPr>
        <p:spPr>
          <a:xfrm>
            <a:off x="9159046" y="2138665"/>
            <a:ext cx="1968809" cy="584775"/>
          </a:xfrm>
          <a:prstGeom prst="rect">
            <a:avLst/>
          </a:prstGeom>
          <a:noFill/>
        </p:spPr>
        <p:txBody>
          <a:bodyPr wrap="none" rtlCol="0">
            <a:spAutoFit/>
          </a:bodyPr>
          <a:lstStyle/>
          <a:p>
            <a:pPr algn="ctr"/>
            <a:r>
              <a:rPr lang="fr-FR" sz="1600" b="1" spc="300" dirty="0">
                <a:solidFill>
                  <a:schemeClr val="bg1"/>
                </a:solidFill>
                <a:latin typeface="Montserrat" pitchFamily="2" charset="77"/>
              </a:rPr>
              <a:t>Gestion des </a:t>
            </a:r>
          </a:p>
          <a:p>
            <a:pPr algn="ctr"/>
            <a:r>
              <a:rPr lang="fr-FR" sz="1600" b="1" spc="300" dirty="0">
                <a:solidFill>
                  <a:schemeClr val="bg1"/>
                </a:solidFill>
                <a:latin typeface="Montserrat" pitchFamily="2" charset="77"/>
              </a:rPr>
              <a:t>Versions</a:t>
            </a:r>
            <a:endParaRPr lang="en-LT" sz="1600" b="1" spc="300" dirty="0">
              <a:solidFill>
                <a:schemeClr val="bg1"/>
              </a:solidFill>
              <a:latin typeface="Montserrat" pitchFamily="2" charset="77"/>
            </a:endParaRPr>
          </a:p>
        </p:txBody>
      </p:sp>
      <p:sp>
        <p:nvSpPr>
          <p:cNvPr id="218" name="TextBox 48">
            <a:extLst>
              <a:ext uri="{FF2B5EF4-FFF2-40B4-BE49-F238E27FC236}">
                <a16:creationId xmlns:a16="http://schemas.microsoft.com/office/drawing/2014/main" id="{ABEF0E61-A52E-4BA6-903D-45CD66160A96}"/>
              </a:ext>
            </a:extLst>
          </p:cNvPr>
          <p:cNvSpPr txBox="1"/>
          <p:nvPr/>
        </p:nvSpPr>
        <p:spPr>
          <a:xfrm>
            <a:off x="8713105" y="4042209"/>
            <a:ext cx="3164648" cy="584775"/>
          </a:xfrm>
          <a:prstGeom prst="rect">
            <a:avLst/>
          </a:prstGeom>
          <a:noFill/>
        </p:spPr>
        <p:txBody>
          <a:bodyPr wrap="none" rtlCol="0">
            <a:spAutoFit/>
          </a:bodyPr>
          <a:lstStyle/>
          <a:p>
            <a:pPr algn="ctr"/>
            <a:r>
              <a:rPr lang="fr-FR" sz="1600" b="1" spc="300" dirty="0">
                <a:solidFill>
                  <a:schemeClr val="bg1"/>
                </a:solidFill>
                <a:latin typeface="Montserrat" pitchFamily="2" charset="77"/>
              </a:rPr>
              <a:t>Sécurité et Intégrité</a:t>
            </a:r>
          </a:p>
          <a:p>
            <a:pPr algn="ctr"/>
            <a:r>
              <a:rPr lang="fr-FR" sz="1600" b="1" spc="300" dirty="0">
                <a:solidFill>
                  <a:schemeClr val="bg1"/>
                </a:solidFill>
                <a:latin typeface="Montserrat" pitchFamily="2" charset="77"/>
              </a:rPr>
              <a:t> du Code</a:t>
            </a:r>
            <a:endParaRPr lang="en-LT" sz="1600" b="1" spc="300" dirty="0">
              <a:solidFill>
                <a:schemeClr val="bg1"/>
              </a:solidFill>
              <a:latin typeface="Montserrat" pitchFamily="2" charset="77"/>
            </a:endParaRPr>
          </a:p>
        </p:txBody>
      </p:sp>
      <p:sp>
        <p:nvSpPr>
          <p:cNvPr id="219" name="Freeform 69">
            <a:extLst>
              <a:ext uri="{FF2B5EF4-FFF2-40B4-BE49-F238E27FC236}">
                <a16:creationId xmlns:a16="http://schemas.microsoft.com/office/drawing/2014/main" id="{5304596B-1990-436D-B110-CA93E44E671B}"/>
              </a:ext>
            </a:extLst>
          </p:cNvPr>
          <p:cNvSpPr/>
          <p:nvPr/>
        </p:nvSpPr>
        <p:spPr>
          <a:xfrm>
            <a:off x="9816436" y="1253070"/>
            <a:ext cx="827568" cy="802803"/>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pic>
        <p:nvPicPr>
          <p:cNvPr id="220" name="Graphique 219" descr="Point d’exclamation">
            <a:extLst>
              <a:ext uri="{FF2B5EF4-FFF2-40B4-BE49-F238E27FC236}">
                <a16:creationId xmlns:a16="http://schemas.microsoft.com/office/drawing/2014/main" id="{6EE26191-B79A-4884-9550-D84AE2ACA7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901095" y="1311388"/>
            <a:ext cx="631704" cy="631704"/>
          </a:xfrm>
          <a:prstGeom prst="rect">
            <a:avLst/>
          </a:prstGeom>
        </p:spPr>
      </p:pic>
      <p:sp>
        <p:nvSpPr>
          <p:cNvPr id="221" name="Freeform 69">
            <a:extLst>
              <a:ext uri="{FF2B5EF4-FFF2-40B4-BE49-F238E27FC236}">
                <a16:creationId xmlns:a16="http://schemas.microsoft.com/office/drawing/2014/main" id="{8B116075-DB66-48C1-9356-5CB0D3847DED}"/>
              </a:ext>
            </a:extLst>
          </p:cNvPr>
          <p:cNvSpPr/>
          <p:nvPr/>
        </p:nvSpPr>
        <p:spPr>
          <a:xfrm>
            <a:off x="9764389" y="3087740"/>
            <a:ext cx="879615" cy="853292"/>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pic>
        <p:nvPicPr>
          <p:cNvPr id="222" name="Graphique 221" descr="Point d’exclamation">
            <a:extLst>
              <a:ext uri="{FF2B5EF4-FFF2-40B4-BE49-F238E27FC236}">
                <a16:creationId xmlns:a16="http://schemas.microsoft.com/office/drawing/2014/main" id="{26E26365-68AD-47D3-81A8-710899F0F5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76242" y="3205509"/>
            <a:ext cx="671433" cy="671433"/>
          </a:xfrm>
          <a:prstGeom prst="rect">
            <a:avLst/>
          </a:prstGeom>
        </p:spPr>
      </p:pic>
      <p:sp>
        <p:nvSpPr>
          <p:cNvPr id="223" name="TextBox 46">
            <a:extLst>
              <a:ext uri="{FF2B5EF4-FFF2-40B4-BE49-F238E27FC236}">
                <a16:creationId xmlns:a16="http://schemas.microsoft.com/office/drawing/2014/main" id="{15980954-473A-460B-B83D-A25C1C102E2E}"/>
              </a:ext>
            </a:extLst>
          </p:cNvPr>
          <p:cNvSpPr txBox="1"/>
          <p:nvPr/>
        </p:nvSpPr>
        <p:spPr>
          <a:xfrm>
            <a:off x="9190929" y="5717951"/>
            <a:ext cx="2034531" cy="584775"/>
          </a:xfrm>
          <a:prstGeom prst="rect">
            <a:avLst/>
          </a:prstGeom>
          <a:noFill/>
        </p:spPr>
        <p:txBody>
          <a:bodyPr wrap="none" rtlCol="0">
            <a:spAutoFit/>
          </a:bodyPr>
          <a:lstStyle/>
          <a:p>
            <a:pPr algn="ctr"/>
            <a:r>
              <a:rPr lang="fr-FR" sz="1600" b="1" spc="300" dirty="0">
                <a:solidFill>
                  <a:schemeClr val="bg1"/>
                </a:solidFill>
                <a:latin typeface="Montserrat" pitchFamily="2" charset="77"/>
              </a:rPr>
              <a:t>Distribution </a:t>
            </a:r>
          </a:p>
          <a:p>
            <a:pPr algn="ctr"/>
            <a:r>
              <a:rPr lang="fr-FR" sz="1600" b="1" spc="300" dirty="0">
                <a:solidFill>
                  <a:schemeClr val="bg1"/>
                </a:solidFill>
                <a:latin typeface="Montserrat" pitchFamily="2" charset="77"/>
              </a:rPr>
              <a:t>du Code</a:t>
            </a:r>
            <a:endParaRPr lang="en-LT" sz="1600" b="1" spc="300" dirty="0">
              <a:solidFill>
                <a:schemeClr val="bg1"/>
              </a:solidFill>
              <a:latin typeface="Montserrat" pitchFamily="2" charset="77"/>
            </a:endParaRPr>
          </a:p>
        </p:txBody>
      </p:sp>
      <p:sp>
        <p:nvSpPr>
          <p:cNvPr id="224" name="Freeform 69">
            <a:extLst>
              <a:ext uri="{FF2B5EF4-FFF2-40B4-BE49-F238E27FC236}">
                <a16:creationId xmlns:a16="http://schemas.microsoft.com/office/drawing/2014/main" id="{3E7DB0D7-B63C-4C00-A238-EB43B21CE5D5}"/>
              </a:ext>
            </a:extLst>
          </p:cNvPr>
          <p:cNvSpPr/>
          <p:nvPr/>
        </p:nvSpPr>
        <p:spPr>
          <a:xfrm>
            <a:off x="9811204" y="4813971"/>
            <a:ext cx="827568" cy="802803"/>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pic>
        <p:nvPicPr>
          <p:cNvPr id="225" name="Graphique 224" descr="Point d’exclamation">
            <a:extLst>
              <a:ext uri="{FF2B5EF4-FFF2-40B4-BE49-F238E27FC236}">
                <a16:creationId xmlns:a16="http://schemas.microsoft.com/office/drawing/2014/main" id="{CDF87A08-AB56-4306-902D-C9586E38D5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923057" y="4931741"/>
            <a:ext cx="631704" cy="631704"/>
          </a:xfrm>
          <a:prstGeom prst="rect">
            <a:avLst/>
          </a:prstGeom>
        </p:spPr>
      </p:pic>
      <p:grpSp>
        <p:nvGrpSpPr>
          <p:cNvPr id="226" name="Graphic 43">
            <a:extLst>
              <a:ext uri="{FF2B5EF4-FFF2-40B4-BE49-F238E27FC236}">
                <a16:creationId xmlns:a16="http://schemas.microsoft.com/office/drawing/2014/main" id="{3E69939D-AC96-4330-91A6-D8D0C4109C34}"/>
              </a:ext>
            </a:extLst>
          </p:cNvPr>
          <p:cNvGrpSpPr/>
          <p:nvPr/>
        </p:nvGrpSpPr>
        <p:grpSpPr>
          <a:xfrm rot="4018833" flipV="1">
            <a:off x="7314983" y="4253112"/>
            <a:ext cx="1356455" cy="777212"/>
            <a:chOff x="5270499" y="2952750"/>
            <a:chExt cx="1652160" cy="946643"/>
          </a:xfrm>
          <a:solidFill>
            <a:schemeClr val="bg1"/>
          </a:solidFill>
        </p:grpSpPr>
        <p:sp>
          <p:nvSpPr>
            <p:cNvPr id="227" name="Freeform 58">
              <a:extLst>
                <a:ext uri="{FF2B5EF4-FFF2-40B4-BE49-F238E27FC236}">
                  <a16:creationId xmlns:a16="http://schemas.microsoft.com/office/drawing/2014/main" id="{A7F0259F-3DDA-444B-AB25-2BB316B6C4C6}"/>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228" name="Freeform 59">
              <a:extLst>
                <a:ext uri="{FF2B5EF4-FFF2-40B4-BE49-F238E27FC236}">
                  <a16:creationId xmlns:a16="http://schemas.microsoft.com/office/drawing/2014/main" id="{7F0BDA91-2C83-458B-8282-D991871EFA27}"/>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sp>
        <p:nvSpPr>
          <p:cNvPr id="229" name="TextBox 46">
            <a:extLst>
              <a:ext uri="{FF2B5EF4-FFF2-40B4-BE49-F238E27FC236}">
                <a16:creationId xmlns:a16="http://schemas.microsoft.com/office/drawing/2014/main" id="{20346585-559D-4837-9F6E-3A3A7306A200}"/>
              </a:ext>
            </a:extLst>
          </p:cNvPr>
          <p:cNvSpPr txBox="1"/>
          <p:nvPr/>
        </p:nvSpPr>
        <p:spPr>
          <a:xfrm>
            <a:off x="6199306" y="2270330"/>
            <a:ext cx="748923" cy="338554"/>
          </a:xfrm>
          <a:prstGeom prst="rect">
            <a:avLst/>
          </a:prstGeom>
          <a:noFill/>
        </p:spPr>
        <p:txBody>
          <a:bodyPr wrap="none" rtlCol="0">
            <a:spAutoFit/>
          </a:bodyPr>
          <a:lstStyle/>
          <a:p>
            <a:pPr algn="ctr"/>
            <a:r>
              <a:rPr lang="fr-FR" sz="1600" b="1" spc="300" dirty="0">
                <a:solidFill>
                  <a:schemeClr val="bg1"/>
                </a:solidFill>
                <a:latin typeface="Montserrat" pitchFamily="2" charset="77"/>
              </a:rPr>
              <a:t>SVN</a:t>
            </a:r>
            <a:endParaRPr lang="en-LT" sz="1600" b="1" spc="300" dirty="0">
              <a:solidFill>
                <a:schemeClr val="bg1"/>
              </a:solidFill>
              <a:latin typeface="Montserrat" pitchFamily="2" charset="77"/>
            </a:endParaRPr>
          </a:p>
        </p:txBody>
      </p:sp>
      <p:sp>
        <p:nvSpPr>
          <p:cNvPr id="230" name="Freeform 69">
            <a:extLst>
              <a:ext uri="{FF2B5EF4-FFF2-40B4-BE49-F238E27FC236}">
                <a16:creationId xmlns:a16="http://schemas.microsoft.com/office/drawing/2014/main" id="{F1222C33-713D-4C09-80AC-7FB6CE2032EF}"/>
              </a:ext>
            </a:extLst>
          </p:cNvPr>
          <p:cNvSpPr/>
          <p:nvPr/>
        </p:nvSpPr>
        <p:spPr>
          <a:xfrm>
            <a:off x="6132237" y="1277235"/>
            <a:ext cx="827568" cy="802803"/>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pic>
        <p:nvPicPr>
          <p:cNvPr id="231" name="Graphique 230" descr="Point d’exclamation">
            <a:extLst>
              <a:ext uri="{FF2B5EF4-FFF2-40B4-BE49-F238E27FC236}">
                <a16:creationId xmlns:a16="http://schemas.microsoft.com/office/drawing/2014/main" id="{280C6782-BC6C-4364-8BF2-78FDD7FBB24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44090" y="1395005"/>
            <a:ext cx="631704" cy="631704"/>
          </a:xfrm>
          <a:prstGeom prst="rect">
            <a:avLst/>
          </a:prstGeom>
        </p:spPr>
      </p:pic>
      <p:grpSp>
        <p:nvGrpSpPr>
          <p:cNvPr id="235" name="Graphic 43">
            <a:extLst>
              <a:ext uri="{FF2B5EF4-FFF2-40B4-BE49-F238E27FC236}">
                <a16:creationId xmlns:a16="http://schemas.microsoft.com/office/drawing/2014/main" id="{2422D24F-D338-427F-BB8B-284048ED6C86}"/>
              </a:ext>
            </a:extLst>
          </p:cNvPr>
          <p:cNvGrpSpPr/>
          <p:nvPr/>
        </p:nvGrpSpPr>
        <p:grpSpPr>
          <a:xfrm rot="382708" flipV="1">
            <a:off x="6239295" y="2619249"/>
            <a:ext cx="431283" cy="398555"/>
            <a:chOff x="5270499" y="2952750"/>
            <a:chExt cx="1652160" cy="946643"/>
          </a:xfrm>
          <a:solidFill>
            <a:schemeClr val="bg1"/>
          </a:solidFill>
        </p:grpSpPr>
        <p:sp>
          <p:nvSpPr>
            <p:cNvPr id="236" name="Freeform 58">
              <a:extLst>
                <a:ext uri="{FF2B5EF4-FFF2-40B4-BE49-F238E27FC236}">
                  <a16:creationId xmlns:a16="http://schemas.microsoft.com/office/drawing/2014/main" id="{4C69769D-C4B4-46A4-A4F5-61C6E0401393}"/>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dirty="0"/>
            </a:p>
          </p:txBody>
        </p:sp>
        <p:sp>
          <p:nvSpPr>
            <p:cNvPr id="237" name="Freeform 59">
              <a:extLst>
                <a:ext uri="{FF2B5EF4-FFF2-40B4-BE49-F238E27FC236}">
                  <a16:creationId xmlns:a16="http://schemas.microsoft.com/office/drawing/2014/main" id="{6DF5D5A6-2FAE-44D1-8D12-ABA1C8A99D61}"/>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spTree>
    <p:extLst>
      <p:ext uri="{BB962C8B-B14F-4D97-AF65-F5344CB8AC3E}">
        <p14:creationId xmlns:p14="http://schemas.microsoft.com/office/powerpoint/2010/main" val="45468045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sp>
        <p:nvSpPr>
          <p:cNvPr id="67" name="TextBox 66">
            <a:extLst>
              <a:ext uri="{FF2B5EF4-FFF2-40B4-BE49-F238E27FC236}">
                <a16:creationId xmlns:a16="http://schemas.microsoft.com/office/drawing/2014/main" id="{EA6B27D8-8436-0A4F-A9FE-C445BB25553E}"/>
              </a:ext>
            </a:extLst>
          </p:cNvPr>
          <p:cNvSpPr txBox="1"/>
          <p:nvPr/>
        </p:nvSpPr>
        <p:spPr>
          <a:xfrm>
            <a:off x="4795152" y="583080"/>
            <a:ext cx="3244799" cy="584775"/>
          </a:xfrm>
          <a:prstGeom prst="rect">
            <a:avLst/>
          </a:prstGeom>
          <a:noFill/>
        </p:spPr>
        <p:txBody>
          <a:bodyPr wrap="none" rtlCol="0">
            <a:spAutoFit/>
          </a:bodyPr>
          <a:lstStyle/>
          <a:p>
            <a:pPr algn="ctr"/>
            <a:r>
              <a:rPr lang="fr-FR" sz="3200" b="1" spc="300" dirty="0">
                <a:solidFill>
                  <a:schemeClr val="tx1">
                    <a:lumMod val="75000"/>
                    <a:lumOff val="25000"/>
                  </a:schemeClr>
                </a:solidFill>
                <a:latin typeface="Montserrat" pitchFamily="2" charset="77"/>
              </a:rPr>
              <a:t>GIT&amp;GITHUB</a:t>
            </a:r>
            <a:endParaRPr lang="en-LT" sz="3200" b="1" spc="300" dirty="0">
              <a:solidFill>
                <a:schemeClr val="tx1">
                  <a:lumMod val="75000"/>
                  <a:lumOff val="25000"/>
                </a:schemeClr>
              </a:solidFill>
              <a:latin typeface="Montserrat" pitchFamily="2" charset="77"/>
            </a:endParaRPr>
          </a:p>
        </p:txBody>
      </p:sp>
      <p:sp>
        <p:nvSpPr>
          <p:cNvPr id="68" name="TextBox 67">
            <a:hlinkClick r:id="rId3" action="ppaction://hlinksldjump"/>
            <a:extLst>
              <a:ext uri="{FF2B5EF4-FFF2-40B4-BE49-F238E27FC236}">
                <a16:creationId xmlns:a16="http://schemas.microsoft.com/office/drawing/2014/main" id="{FD5DE251-DB27-9746-BA43-61451A0548D9}"/>
              </a:ext>
            </a:extLst>
          </p:cNvPr>
          <p:cNvSpPr txBox="1"/>
          <p:nvPr/>
        </p:nvSpPr>
        <p:spPr>
          <a:xfrm>
            <a:off x="1760244" y="2811343"/>
            <a:ext cx="2736648" cy="400110"/>
          </a:xfrm>
          <a:prstGeom prst="rect">
            <a:avLst/>
          </a:prstGeom>
          <a:noFill/>
        </p:spPr>
        <p:txBody>
          <a:bodyPr wrap="none" rtlCol="0">
            <a:spAutoFit/>
          </a:bodyPr>
          <a:lstStyle/>
          <a:p>
            <a:pPr algn="ctr"/>
            <a:r>
              <a:rPr lang="fr-FR" sz="2000" b="1" dirty="0">
                <a:solidFill>
                  <a:schemeClr val="tx1">
                    <a:lumMod val="75000"/>
                    <a:lumOff val="25000"/>
                  </a:schemeClr>
                </a:solidFill>
                <a:latin typeface="Montserrat" pitchFamily="2" charset="77"/>
              </a:rPr>
              <a:t>Qu’est-ce que Git ?</a:t>
            </a:r>
          </a:p>
        </p:txBody>
      </p:sp>
      <p:sp>
        <p:nvSpPr>
          <p:cNvPr id="70" name="TextBox 69">
            <a:hlinkClick r:id="rId4" action="ppaction://hlinksldjump"/>
            <a:extLst>
              <a:ext uri="{FF2B5EF4-FFF2-40B4-BE49-F238E27FC236}">
                <a16:creationId xmlns:a16="http://schemas.microsoft.com/office/drawing/2014/main" id="{7AA27438-81C6-E043-907F-29E2BE9F45F3}"/>
              </a:ext>
            </a:extLst>
          </p:cNvPr>
          <p:cNvSpPr txBox="1"/>
          <p:nvPr/>
        </p:nvSpPr>
        <p:spPr>
          <a:xfrm>
            <a:off x="1277997" y="5112898"/>
            <a:ext cx="3998209" cy="707886"/>
          </a:xfrm>
          <a:prstGeom prst="rect">
            <a:avLst/>
          </a:prstGeom>
          <a:noFill/>
        </p:spPr>
        <p:txBody>
          <a:bodyPr wrap="none" rtlCol="0">
            <a:spAutoFit/>
          </a:bodyPr>
          <a:lstStyle/>
          <a:p>
            <a:pPr algn="ctr"/>
            <a:r>
              <a:rPr lang="fr-FR" sz="2000" b="1" spc="300" dirty="0">
                <a:solidFill>
                  <a:schemeClr val="tx1">
                    <a:lumMod val="75000"/>
                    <a:lumOff val="25000"/>
                  </a:schemeClr>
                </a:solidFill>
                <a:latin typeface="Montserrat" pitchFamily="2" charset="77"/>
              </a:rPr>
              <a:t>Modèles des logiciels</a:t>
            </a:r>
          </a:p>
          <a:p>
            <a:pPr algn="ctr"/>
            <a:r>
              <a:rPr lang="fr-FR" sz="2000" b="1" spc="300" dirty="0">
                <a:solidFill>
                  <a:schemeClr val="tx1">
                    <a:lumMod val="75000"/>
                    <a:lumOff val="25000"/>
                  </a:schemeClr>
                </a:solidFill>
                <a:latin typeface="Montserrat" pitchFamily="2" charset="77"/>
              </a:rPr>
              <a:t> de gestion de version</a:t>
            </a:r>
            <a:endParaRPr lang="en-LT" sz="2000" b="1" spc="300" dirty="0">
              <a:solidFill>
                <a:schemeClr val="tx1">
                  <a:lumMod val="75000"/>
                  <a:lumOff val="25000"/>
                </a:schemeClr>
              </a:solidFill>
              <a:latin typeface="Montserrat" pitchFamily="2" charset="77"/>
            </a:endParaRPr>
          </a:p>
        </p:txBody>
      </p:sp>
      <p:sp>
        <p:nvSpPr>
          <p:cNvPr id="72" name="TextBox 71">
            <a:hlinkClick r:id="rId5" action="ppaction://hlinksldjump"/>
            <a:extLst>
              <a:ext uri="{FF2B5EF4-FFF2-40B4-BE49-F238E27FC236}">
                <a16:creationId xmlns:a16="http://schemas.microsoft.com/office/drawing/2014/main" id="{AA77908D-C827-2442-9E99-38CA058A329B}"/>
              </a:ext>
            </a:extLst>
          </p:cNvPr>
          <p:cNvSpPr txBox="1"/>
          <p:nvPr/>
        </p:nvSpPr>
        <p:spPr>
          <a:xfrm>
            <a:off x="7712341" y="2633577"/>
            <a:ext cx="3680816" cy="707886"/>
          </a:xfrm>
          <a:prstGeom prst="rect">
            <a:avLst/>
          </a:prstGeom>
          <a:noFill/>
        </p:spPr>
        <p:txBody>
          <a:bodyPr wrap="none" rtlCol="0">
            <a:spAutoFit/>
          </a:bodyPr>
          <a:lstStyle/>
          <a:p>
            <a:pPr algn="ctr"/>
            <a:r>
              <a:rPr lang="fr-FR" sz="2000" b="1" spc="300" dirty="0">
                <a:solidFill>
                  <a:schemeClr val="tx1">
                    <a:lumMod val="75000"/>
                    <a:lumOff val="25000"/>
                  </a:schemeClr>
                </a:solidFill>
                <a:latin typeface="Montserrat" pitchFamily="2" charset="77"/>
              </a:rPr>
              <a:t>Essentiel de Gestion</a:t>
            </a:r>
          </a:p>
          <a:p>
            <a:pPr algn="ctr"/>
            <a:r>
              <a:rPr lang="fr-FR" sz="2000" b="1" spc="300" dirty="0">
                <a:solidFill>
                  <a:schemeClr val="tx1">
                    <a:lumMod val="75000"/>
                    <a:lumOff val="25000"/>
                  </a:schemeClr>
                </a:solidFill>
                <a:latin typeface="Montserrat" pitchFamily="2" charset="77"/>
              </a:rPr>
              <a:t> de Versions</a:t>
            </a:r>
            <a:endParaRPr lang="en-LT" sz="2000" b="1" spc="300" dirty="0">
              <a:solidFill>
                <a:schemeClr val="tx1">
                  <a:lumMod val="75000"/>
                  <a:lumOff val="25000"/>
                </a:schemeClr>
              </a:solidFill>
              <a:latin typeface="Montserrat" pitchFamily="2" charset="77"/>
            </a:endParaRPr>
          </a:p>
        </p:txBody>
      </p:sp>
      <p:sp>
        <p:nvSpPr>
          <p:cNvPr id="74" name="TextBox 73">
            <a:hlinkClick r:id="rId6" action="ppaction://hlinksldjump"/>
            <a:extLst>
              <a:ext uri="{FF2B5EF4-FFF2-40B4-BE49-F238E27FC236}">
                <a16:creationId xmlns:a16="http://schemas.microsoft.com/office/drawing/2014/main" id="{7D69EA61-A8AD-5740-8DE5-D0BB71424D2A}"/>
              </a:ext>
            </a:extLst>
          </p:cNvPr>
          <p:cNvSpPr txBox="1"/>
          <p:nvPr/>
        </p:nvSpPr>
        <p:spPr>
          <a:xfrm>
            <a:off x="7481511" y="5112898"/>
            <a:ext cx="4142481" cy="707886"/>
          </a:xfrm>
          <a:prstGeom prst="rect">
            <a:avLst/>
          </a:prstGeom>
          <a:noFill/>
        </p:spPr>
        <p:txBody>
          <a:bodyPr wrap="none" rtlCol="0">
            <a:spAutoFit/>
          </a:bodyPr>
          <a:lstStyle/>
          <a:p>
            <a:pPr algn="ctr"/>
            <a:r>
              <a:rPr lang="fr-FR" sz="2000" b="1" spc="300" dirty="0">
                <a:solidFill>
                  <a:schemeClr val="tx1">
                    <a:lumMod val="75000"/>
                    <a:lumOff val="25000"/>
                  </a:schemeClr>
                </a:solidFill>
                <a:latin typeface="Montserrat" pitchFamily="2" charset="77"/>
              </a:rPr>
              <a:t>Qu’est-ce que GitHub ?</a:t>
            </a:r>
          </a:p>
          <a:p>
            <a:pPr algn="ctr"/>
            <a:endParaRPr lang="en-LT" sz="2000" b="1" spc="300" dirty="0">
              <a:solidFill>
                <a:schemeClr val="tx1">
                  <a:lumMod val="75000"/>
                  <a:lumOff val="25000"/>
                </a:schemeClr>
              </a:solidFill>
              <a:latin typeface="Montserrat" pitchFamily="2" charset="77"/>
            </a:endParaRPr>
          </a:p>
        </p:txBody>
      </p:sp>
      <p:grpSp>
        <p:nvGrpSpPr>
          <p:cNvPr id="76" name="Graphic 43">
            <a:extLst>
              <a:ext uri="{FF2B5EF4-FFF2-40B4-BE49-F238E27FC236}">
                <a16:creationId xmlns:a16="http://schemas.microsoft.com/office/drawing/2014/main" id="{C3745894-A0A8-5944-83DB-330185419DB6}"/>
              </a:ext>
            </a:extLst>
          </p:cNvPr>
          <p:cNvGrpSpPr/>
          <p:nvPr/>
        </p:nvGrpSpPr>
        <p:grpSpPr>
          <a:xfrm rot="269299" flipV="1">
            <a:off x="7472552" y="2216626"/>
            <a:ext cx="1458826" cy="482830"/>
            <a:chOff x="5270499" y="2952750"/>
            <a:chExt cx="1652160" cy="946643"/>
          </a:xfrm>
          <a:solidFill>
            <a:schemeClr val="tx1">
              <a:lumMod val="75000"/>
              <a:lumOff val="25000"/>
            </a:schemeClr>
          </a:solidFill>
        </p:grpSpPr>
        <p:sp>
          <p:nvSpPr>
            <p:cNvPr id="77" name="Freeform 76">
              <a:extLst>
                <a:ext uri="{FF2B5EF4-FFF2-40B4-BE49-F238E27FC236}">
                  <a16:creationId xmlns:a16="http://schemas.microsoft.com/office/drawing/2014/main" id="{591DF5C9-B946-224F-B4B5-7B534D82A080}"/>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78" name="Freeform 77">
              <a:extLst>
                <a:ext uri="{FF2B5EF4-FFF2-40B4-BE49-F238E27FC236}">
                  <a16:creationId xmlns:a16="http://schemas.microsoft.com/office/drawing/2014/main" id="{9EB2B74C-89FA-C448-B55A-66217C72D444}"/>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79" name="Graphic 43">
            <a:extLst>
              <a:ext uri="{FF2B5EF4-FFF2-40B4-BE49-F238E27FC236}">
                <a16:creationId xmlns:a16="http://schemas.microsoft.com/office/drawing/2014/main" id="{A3DB475D-4F98-A94E-8152-1005F71EA4B3}"/>
              </a:ext>
            </a:extLst>
          </p:cNvPr>
          <p:cNvGrpSpPr/>
          <p:nvPr/>
        </p:nvGrpSpPr>
        <p:grpSpPr>
          <a:xfrm rot="2571606" flipV="1">
            <a:off x="7406172" y="4110037"/>
            <a:ext cx="1356455" cy="777212"/>
            <a:chOff x="5270499" y="2952750"/>
            <a:chExt cx="1652160" cy="946643"/>
          </a:xfrm>
          <a:solidFill>
            <a:schemeClr val="tx1">
              <a:lumMod val="75000"/>
              <a:lumOff val="25000"/>
            </a:schemeClr>
          </a:solidFill>
        </p:grpSpPr>
        <p:sp>
          <p:nvSpPr>
            <p:cNvPr id="80" name="Freeform 79">
              <a:extLst>
                <a:ext uri="{FF2B5EF4-FFF2-40B4-BE49-F238E27FC236}">
                  <a16:creationId xmlns:a16="http://schemas.microsoft.com/office/drawing/2014/main" id="{3CFEA317-BC9D-124C-A378-53A293646ACE}"/>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81" name="Freeform 80">
              <a:extLst>
                <a:ext uri="{FF2B5EF4-FFF2-40B4-BE49-F238E27FC236}">
                  <a16:creationId xmlns:a16="http://schemas.microsoft.com/office/drawing/2014/main" id="{C96BE648-DD63-A843-AC92-29E27385B433}"/>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82" name="Graphic 43">
            <a:extLst>
              <a:ext uri="{FF2B5EF4-FFF2-40B4-BE49-F238E27FC236}">
                <a16:creationId xmlns:a16="http://schemas.microsoft.com/office/drawing/2014/main" id="{22774113-23C2-E64F-A389-8FF456199A0A}"/>
              </a:ext>
            </a:extLst>
          </p:cNvPr>
          <p:cNvGrpSpPr/>
          <p:nvPr/>
        </p:nvGrpSpPr>
        <p:grpSpPr>
          <a:xfrm rot="417027" flipH="1" flipV="1">
            <a:off x="3858043" y="2253431"/>
            <a:ext cx="1396237" cy="528243"/>
            <a:chOff x="5270499" y="2952750"/>
            <a:chExt cx="1652160" cy="946643"/>
          </a:xfrm>
          <a:solidFill>
            <a:schemeClr val="tx1">
              <a:lumMod val="75000"/>
              <a:lumOff val="25000"/>
            </a:schemeClr>
          </a:solidFill>
        </p:grpSpPr>
        <p:sp>
          <p:nvSpPr>
            <p:cNvPr id="83" name="Freeform 82">
              <a:extLst>
                <a:ext uri="{FF2B5EF4-FFF2-40B4-BE49-F238E27FC236}">
                  <a16:creationId xmlns:a16="http://schemas.microsoft.com/office/drawing/2014/main" id="{80A33F9F-A460-1744-8E9C-B350A5D79CF8}"/>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84" name="Freeform 83">
              <a:extLst>
                <a:ext uri="{FF2B5EF4-FFF2-40B4-BE49-F238E27FC236}">
                  <a16:creationId xmlns:a16="http://schemas.microsoft.com/office/drawing/2014/main" id="{04476EBC-BB00-2D41-A28A-D5D5C4931DF3}"/>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85" name="Graphic 43">
            <a:extLst>
              <a:ext uri="{FF2B5EF4-FFF2-40B4-BE49-F238E27FC236}">
                <a16:creationId xmlns:a16="http://schemas.microsoft.com/office/drawing/2014/main" id="{AF7509F0-3625-1749-9DC1-3D01E8F92683}"/>
              </a:ext>
            </a:extLst>
          </p:cNvPr>
          <p:cNvGrpSpPr/>
          <p:nvPr/>
        </p:nvGrpSpPr>
        <p:grpSpPr>
          <a:xfrm rot="19028394" flipH="1" flipV="1">
            <a:off x="4061834" y="4110037"/>
            <a:ext cx="1356455" cy="777212"/>
            <a:chOff x="5270499" y="2952750"/>
            <a:chExt cx="1652160" cy="946643"/>
          </a:xfrm>
          <a:solidFill>
            <a:schemeClr val="tx1">
              <a:lumMod val="75000"/>
              <a:lumOff val="25000"/>
            </a:schemeClr>
          </a:solidFill>
        </p:grpSpPr>
        <p:sp>
          <p:nvSpPr>
            <p:cNvPr id="86" name="Freeform 85">
              <a:extLst>
                <a:ext uri="{FF2B5EF4-FFF2-40B4-BE49-F238E27FC236}">
                  <a16:creationId xmlns:a16="http://schemas.microsoft.com/office/drawing/2014/main" id="{D2CDDCE9-181F-1843-92D3-51D1043CE8C6}"/>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87" name="Freeform 86">
              <a:extLst>
                <a:ext uri="{FF2B5EF4-FFF2-40B4-BE49-F238E27FC236}">
                  <a16:creationId xmlns:a16="http://schemas.microsoft.com/office/drawing/2014/main" id="{678B5C94-4923-1A42-B430-6D2F7F7AFA11}"/>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pic>
        <p:nvPicPr>
          <p:cNvPr id="88" name="Graphic 87">
            <a:extLst>
              <a:ext uri="{FF2B5EF4-FFF2-40B4-BE49-F238E27FC236}">
                <a16:creationId xmlns:a16="http://schemas.microsoft.com/office/drawing/2014/main" id="{2311393A-87B0-4C47-BB25-5F2D400902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432676">
            <a:off x="5371000" y="1071042"/>
            <a:ext cx="2059204" cy="134841"/>
          </a:xfrm>
          <a:prstGeom prst="rect">
            <a:avLst/>
          </a:prstGeom>
        </p:spPr>
      </p:pic>
      <p:grpSp>
        <p:nvGrpSpPr>
          <p:cNvPr id="89" name="!!lamp">
            <a:extLst>
              <a:ext uri="{FF2B5EF4-FFF2-40B4-BE49-F238E27FC236}">
                <a16:creationId xmlns:a16="http://schemas.microsoft.com/office/drawing/2014/main" id="{2AEF9D56-0ACC-1248-A58F-759D7921C1D8}"/>
              </a:ext>
            </a:extLst>
          </p:cNvPr>
          <p:cNvGrpSpPr/>
          <p:nvPr/>
        </p:nvGrpSpPr>
        <p:grpSpPr>
          <a:xfrm>
            <a:off x="5280602" y="1997068"/>
            <a:ext cx="2224912" cy="3839904"/>
            <a:chOff x="5009734" y="1528902"/>
            <a:chExt cx="2224912" cy="3839904"/>
          </a:xfrm>
          <a:solidFill>
            <a:schemeClr val="tx1">
              <a:lumMod val="75000"/>
              <a:lumOff val="25000"/>
            </a:schemeClr>
          </a:solidFill>
        </p:grpSpPr>
        <p:sp>
          <p:nvSpPr>
            <p:cNvPr id="90" name="Freeform 89">
              <a:extLst>
                <a:ext uri="{FF2B5EF4-FFF2-40B4-BE49-F238E27FC236}">
                  <a16:creationId xmlns:a16="http://schemas.microsoft.com/office/drawing/2014/main" id="{C035A1D9-900D-9E47-B835-16C71ADF22DE}"/>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04FE7E47-391D-534A-9292-A4206360C72D}"/>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62045E73-5F4A-1044-98DA-72F4A41DB079}"/>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859E6785-5B07-7745-A21C-E07FBA9800BF}"/>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94" name="Freeform 93">
              <a:extLst>
                <a:ext uri="{FF2B5EF4-FFF2-40B4-BE49-F238E27FC236}">
                  <a16:creationId xmlns:a16="http://schemas.microsoft.com/office/drawing/2014/main" id="{07ECCCC9-B82D-1542-B567-803A20B769DC}"/>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95" name="Freeform 94">
              <a:extLst>
                <a:ext uri="{FF2B5EF4-FFF2-40B4-BE49-F238E27FC236}">
                  <a16:creationId xmlns:a16="http://schemas.microsoft.com/office/drawing/2014/main" id="{FA5946B8-AD27-8A47-A4DD-28942A46F148}"/>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9EFC3149-2635-574A-BAA0-EFDEE3C9ABA2}"/>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9F9D26DD-15BE-BC40-8BC9-F7A55D6E9206}"/>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1601831B-D5D8-AD46-8CAB-3FAE558114BB}"/>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9D5C2B3E-11A5-6E43-A32D-B86C6A47E862}"/>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00" name="Freeform 99">
              <a:extLst>
                <a:ext uri="{FF2B5EF4-FFF2-40B4-BE49-F238E27FC236}">
                  <a16:creationId xmlns:a16="http://schemas.microsoft.com/office/drawing/2014/main" id="{4A99C4A1-E266-4440-8E71-AAAB641F2302}"/>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01" name="Freeform 100">
              <a:extLst>
                <a:ext uri="{FF2B5EF4-FFF2-40B4-BE49-F238E27FC236}">
                  <a16:creationId xmlns:a16="http://schemas.microsoft.com/office/drawing/2014/main" id="{892418A3-A5F5-5140-BAF2-3C7B1C514F8B}"/>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CC612FEE-D838-1C44-845D-CB3BEFCE9858}"/>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A47D23C2-BC08-DE43-96B4-4AD4A0A593D3}"/>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E0DF16F1-323D-864B-9E43-B4BA9CC8CEB8}"/>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9AD744BC-2940-694E-B3F7-AF45A05AC5DB}"/>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06" name="Freeform 105">
              <a:extLst>
                <a:ext uri="{FF2B5EF4-FFF2-40B4-BE49-F238E27FC236}">
                  <a16:creationId xmlns:a16="http://schemas.microsoft.com/office/drawing/2014/main" id="{06B14613-55B4-B14F-BBE4-9BAFC777980C}"/>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dirty="0"/>
            </a:p>
          </p:txBody>
        </p:sp>
      </p:grpSp>
      <p:grpSp>
        <p:nvGrpSpPr>
          <p:cNvPr id="107" name="Graphic 142">
            <a:extLst>
              <a:ext uri="{FF2B5EF4-FFF2-40B4-BE49-F238E27FC236}">
                <a16:creationId xmlns:a16="http://schemas.microsoft.com/office/drawing/2014/main" id="{0A3BABE9-09DA-3F4A-970E-C2AB1D1739A1}"/>
              </a:ext>
            </a:extLst>
          </p:cNvPr>
          <p:cNvGrpSpPr/>
          <p:nvPr/>
        </p:nvGrpSpPr>
        <p:grpSpPr>
          <a:xfrm>
            <a:off x="9224239" y="1556298"/>
            <a:ext cx="657017" cy="1133925"/>
            <a:chOff x="5009734" y="1528902"/>
            <a:chExt cx="2224912" cy="3839904"/>
          </a:xfrm>
          <a:solidFill>
            <a:schemeClr val="tx1">
              <a:lumMod val="75000"/>
              <a:lumOff val="25000"/>
            </a:schemeClr>
          </a:solidFill>
        </p:grpSpPr>
        <p:sp>
          <p:nvSpPr>
            <p:cNvPr id="108" name="Freeform 107">
              <a:extLst>
                <a:ext uri="{FF2B5EF4-FFF2-40B4-BE49-F238E27FC236}">
                  <a16:creationId xmlns:a16="http://schemas.microsoft.com/office/drawing/2014/main" id="{6C1B4E43-2D6C-CB40-A659-C30AF34821EF}"/>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09" name="Freeform 108">
              <a:extLst>
                <a:ext uri="{FF2B5EF4-FFF2-40B4-BE49-F238E27FC236}">
                  <a16:creationId xmlns:a16="http://schemas.microsoft.com/office/drawing/2014/main" id="{9FD5E82B-C773-4347-8B97-E8FD0C98575B}"/>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10" name="Freeform 109">
              <a:extLst>
                <a:ext uri="{FF2B5EF4-FFF2-40B4-BE49-F238E27FC236}">
                  <a16:creationId xmlns:a16="http://schemas.microsoft.com/office/drawing/2014/main" id="{ACC87DA2-115A-6241-8403-997FB4A175D0}"/>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11" name="Freeform 110">
              <a:extLst>
                <a:ext uri="{FF2B5EF4-FFF2-40B4-BE49-F238E27FC236}">
                  <a16:creationId xmlns:a16="http://schemas.microsoft.com/office/drawing/2014/main" id="{03E5E962-1D08-0B46-B57C-21C71F9D5D88}"/>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12" name="Freeform 111">
              <a:extLst>
                <a:ext uri="{FF2B5EF4-FFF2-40B4-BE49-F238E27FC236}">
                  <a16:creationId xmlns:a16="http://schemas.microsoft.com/office/drawing/2014/main" id="{33D64553-9703-2E45-A069-89736C833646}"/>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13" name="Freeform 112">
              <a:extLst>
                <a:ext uri="{FF2B5EF4-FFF2-40B4-BE49-F238E27FC236}">
                  <a16:creationId xmlns:a16="http://schemas.microsoft.com/office/drawing/2014/main" id="{D66D981D-15F9-BB4D-B516-95A327BA2F7A}"/>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14" name="Freeform 113">
              <a:extLst>
                <a:ext uri="{FF2B5EF4-FFF2-40B4-BE49-F238E27FC236}">
                  <a16:creationId xmlns:a16="http://schemas.microsoft.com/office/drawing/2014/main" id="{22D00199-788A-444B-88A2-39F1E2CBB514}"/>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15" name="Freeform 114">
              <a:extLst>
                <a:ext uri="{FF2B5EF4-FFF2-40B4-BE49-F238E27FC236}">
                  <a16:creationId xmlns:a16="http://schemas.microsoft.com/office/drawing/2014/main" id="{34E47DDF-8C58-6049-938F-C9337C463C2E}"/>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16" name="Freeform 115">
              <a:extLst>
                <a:ext uri="{FF2B5EF4-FFF2-40B4-BE49-F238E27FC236}">
                  <a16:creationId xmlns:a16="http://schemas.microsoft.com/office/drawing/2014/main" id="{D703AF9C-10C5-8442-B817-15B343CC21EA}"/>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17" name="Freeform 116">
              <a:extLst>
                <a:ext uri="{FF2B5EF4-FFF2-40B4-BE49-F238E27FC236}">
                  <a16:creationId xmlns:a16="http://schemas.microsoft.com/office/drawing/2014/main" id="{E7511582-559C-584D-A3BC-7F68D2CCE993}"/>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18" name="Freeform 117">
              <a:extLst>
                <a:ext uri="{FF2B5EF4-FFF2-40B4-BE49-F238E27FC236}">
                  <a16:creationId xmlns:a16="http://schemas.microsoft.com/office/drawing/2014/main" id="{3F1A5EB3-DFDF-E446-B9CA-7A22F6BE44D4}"/>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19" name="Freeform 118">
              <a:extLst>
                <a:ext uri="{FF2B5EF4-FFF2-40B4-BE49-F238E27FC236}">
                  <a16:creationId xmlns:a16="http://schemas.microsoft.com/office/drawing/2014/main" id="{F01EBBB9-B9BC-6A43-A83F-C990CCA253BD}"/>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20" name="Freeform 119">
              <a:extLst>
                <a:ext uri="{FF2B5EF4-FFF2-40B4-BE49-F238E27FC236}">
                  <a16:creationId xmlns:a16="http://schemas.microsoft.com/office/drawing/2014/main" id="{0423CAF0-DC43-684F-BAB0-36AB2D4017DD}"/>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21" name="Freeform 120">
              <a:extLst>
                <a:ext uri="{FF2B5EF4-FFF2-40B4-BE49-F238E27FC236}">
                  <a16:creationId xmlns:a16="http://schemas.microsoft.com/office/drawing/2014/main" id="{D23A725E-B712-D04D-801A-C4E86CE12C20}"/>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22" name="Freeform 121">
              <a:extLst>
                <a:ext uri="{FF2B5EF4-FFF2-40B4-BE49-F238E27FC236}">
                  <a16:creationId xmlns:a16="http://schemas.microsoft.com/office/drawing/2014/main" id="{03779493-9E16-F440-9755-13009D04A974}"/>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23" name="Freeform 122">
              <a:extLst>
                <a:ext uri="{FF2B5EF4-FFF2-40B4-BE49-F238E27FC236}">
                  <a16:creationId xmlns:a16="http://schemas.microsoft.com/office/drawing/2014/main" id="{9C6B6773-0E8C-AB49-85D3-EF6916DCAEFE}"/>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24" name="Freeform 123">
              <a:extLst>
                <a:ext uri="{FF2B5EF4-FFF2-40B4-BE49-F238E27FC236}">
                  <a16:creationId xmlns:a16="http://schemas.microsoft.com/office/drawing/2014/main" id="{77CC6A8A-74A0-F04B-95BC-DB8A26895A11}"/>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grpSp>
        <p:nvGrpSpPr>
          <p:cNvPr id="125" name="Graphic 142">
            <a:extLst>
              <a:ext uri="{FF2B5EF4-FFF2-40B4-BE49-F238E27FC236}">
                <a16:creationId xmlns:a16="http://schemas.microsoft.com/office/drawing/2014/main" id="{C694A95C-D3F8-3843-94B0-BAB34DBF089B}"/>
              </a:ext>
            </a:extLst>
          </p:cNvPr>
          <p:cNvGrpSpPr/>
          <p:nvPr/>
        </p:nvGrpSpPr>
        <p:grpSpPr>
          <a:xfrm>
            <a:off x="9224239" y="3985990"/>
            <a:ext cx="657017" cy="1133925"/>
            <a:chOff x="5009734" y="1528902"/>
            <a:chExt cx="2224912" cy="3839904"/>
          </a:xfrm>
          <a:solidFill>
            <a:schemeClr val="tx1">
              <a:lumMod val="75000"/>
              <a:lumOff val="25000"/>
            </a:schemeClr>
          </a:solidFill>
        </p:grpSpPr>
        <p:sp>
          <p:nvSpPr>
            <p:cNvPr id="126" name="Freeform 125">
              <a:extLst>
                <a:ext uri="{FF2B5EF4-FFF2-40B4-BE49-F238E27FC236}">
                  <a16:creationId xmlns:a16="http://schemas.microsoft.com/office/drawing/2014/main" id="{CC7CB53A-2D45-264C-8A26-432846123101}"/>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27" name="Freeform 126">
              <a:extLst>
                <a:ext uri="{FF2B5EF4-FFF2-40B4-BE49-F238E27FC236}">
                  <a16:creationId xmlns:a16="http://schemas.microsoft.com/office/drawing/2014/main" id="{2A98FACB-F8D4-0A40-96A8-B95702F5A9CB}"/>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28" name="Freeform 127">
              <a:extLst>
                <a:ext uri="{FF2B5EF4-FFF2-40B4-BE49-F238E27FC236}">
                  <a16:creationId xmlns:a16="http://schemas.microsoft.com/office/drawing/2014/main" id="{81FA864A-F86B-B344-B987-F4FD5D00BC8D}"/>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29" name="Freeform 128">
              <a:extLst>
                <a:ext uri="{FF2B5EF4-FFF2-40B4-BE49-F238E27FC236}">
                  <a16:creationId xmlns:a16="http://schemas.microsoft.com/office/drawing/2014/main" id="{EC44E99A-128C-2D4E-A916-7BE805B58C85}"/>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30" name="Freeform 129">
              <a:extLst>
                <a:ext uri="{FF2B5EF4-FFF2-40B4-BE49-F238E27FC236}">
                  <a16:creationId xmlns:a16="http://schemas.microsoft.com/office/drawing/2014/main" id="{DE7D7605-6FF0-FE40-AA48-1FFD58A9B4F7}"/>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31" name="Freeform 130">
              <a:extLst>
                <a:ext uri="{FF2B5EF4-FFF2-40B4-BE49-F238E27FC236}">
                  <a16:creationId xmlns:a16="http://schemas.microsoft.com/office/drawing/2014/main" id="{94AF7AD9-DE86-E044-9CAF-FC510C81DFF8}"/>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32" name="Freeform 131">
              <a:extLst>
                <a:ext uri="{FF2B5EF4-FFF2-40B4-BE49-F238E27FC236}">
                  <a16:creationId xmlns:a16="http://schemas.microsoft.com/office/drawing/2014/main" id="{6E8051A2-81A5-D446-B43D-3EBA19F63191}"/>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33" name="Freeform 132">
              <a:extLst>
                <a:ext uri="{FF2B5EF4-FFF2-40B4-BE49-F238E27FC236}">
                  <a16:creationId xmlns:a16="http://schemas.microsoft.com/office/drawing/2014/main" id="{4DC1792B-C610-C747-A4BC-19D31E4EBE3C}"/>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34" name="Freeform 133">
              <a:extLst>
                <a:ext uri="{FF2B5EF4-FFF2-40B4-BE49-F238E27FC236}">
                  <a16:creationId xmlns:a16="http://schemas.microsoft.com/office/drawing/2014/main" id="{915F9697-0DCA-5B42-8689-2538C16229C4}"/>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35" name="Freeform 134">
              <a:extLst>
                <a:ext uri="{FF2B5EF4-FFF2-40B4-BE49-F238E27FC236}">
                  <a16:creationId xmlns:a16="http://schemas.microsoft.com/office/drawing/2014/main" id="{839190D0-7CE0-B84F-9E83-A1658178CA8C}"/>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36" name="Freeform 135">
              <a:extLst>
                <a:ext uri="{FF2B5EF4-FFF2-40B4-BE49-F238E27FC236}">
                  <a16:creationId xmlns:a16="http://schemas.microsoft.com/office/drawing/2014/main" id="{1327CA15-6DF1-C14C-B8D9-9CCAC6D6CAAB}"/>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37" name="Freeform 136">
              <a:extLst>
                <a:ext uri="{FF2B5EF4-FFF2-40B4-BE49-F238E27FC236}">
                  <a16:creationId xmlns:a16="http://schemas.microsoft.com/office/drawing/2014/main" id="{14A7A22B-5F52-F74E-B76C-23946B5A8CC1}"/>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38" name="Freeform 137">
              <a:extLst>
                <a:ext uri="{FF2B5EF4-FFF2-40B4-BE49-F238E27FC236}">
                  <a16:creationId xmlns:a16="http://schemas.microsoft.com/office/drawing/2014/main" id="{6548D705-C541-9B4B-8E2B-B7E00758AF75}"/>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39" name="Freeform 138">
              <a:extLst>
                <a:ext uri="{FF2B5EF4-FFF2-40B4-BE49-F238E27FC236}">
                  <a16:creationId xmlns:a16="http://schemas.microsoft.com/office/drawing/2014/main" id="{01443B8C-7282-434E-82DD-EB2BDFEC374A}"/>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40" name="Freeform 139">
              <a:extLst>
                <a:ext uri="{FF2B5EF4-FFF2-40B4-BE49-F238E27FC236}">
                  <a16:creationId xmlns:a16="http://schemas.microsoft.com/office/drawing/2014/main" id="{95033184-0886-454F-A832-0DB4B594A68B}"/>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41" name="Freeform 140">
              <a:extLst>
                <a:ext uri="{FF2B5EF4-FFF2-40B4-BE49-F238E27FC236}">
                  <a16:creationId xmlns:a16="http://schemas.microsoft.com/office/drawing/2014/main" id="{17DC5EE3-8AFA-BF44-AACE-39101A9B4B77}"/>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42" name="Freeform 141">
              <a:extLst>
                <a:ext uri="{FF2B5EF4-FFF2-40B4-BE49-F238E27FC236}">
                  <a16:creationId xmlns:a16="http://schemas.microsoft.com/office/drawing/2014/main" id="{CC514A92-1F68-514F-8EF8-B7C6FF633628}"/>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grpSp>
        <p:nvGrpSpPr>
          <p:cNvPr id="143" name="Graphic 142">
            <a:extLst>
              <a:ext uri="{FF2B5EF4-FFF2-40B4-BE49-F238E27FC236}">
                <a16:creationId xmlns:a16="http://schemas.microsoft.com/office/drawing/2014/main" id="{5758C76D-70FD-B947-81C4-07A580E9AC1D}"/>
              </a:ext>
            </a:extLst>
          </p:cNvPr>
          <p:cNvGrpSpPr/>
          <p:nvPr/>
        </p:nvGrpSpPr>
        <p:grpSpPr>
          <a:xfrm>
            <a:off x="2914879" y="1556298"/>
            <a:ext cx="657017" cy="1133925"/>
            <a:chOff x="5009734" y="1528902"/>
            <a:chExt cx="2224912" cy="3839904"/>
          </a:xfrm>
          <a:solidFill>
            <a:schemeClr val="tx1">
              <a:lumMod val="75000"/>
              <a:lumOff val="25000"/>
            </a:schemeClr>
          </a:solidFill>
        </p:grpSpPr>
        <p:sp>
          <p:nvSpPr>
            <p:cNvPr id="144" name="Freeform 143">
              <a:extLst>
                <a:ext uri="{FF2B5EF4-FFF2-40B4-BE49-F238E27FC236}">
                  <a16:creationId xmlns:a16="http://schemas.microsoft.com/office/drawing/2014/main" id="{E60A4F9C-9E6A-5B49-B269-B4CD962F4AB9}"/>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45" name="Freeform 144">
              <a:extLst>
                <a:ext uri="{FF2B5EF4-FFF2-40B4-BE49-F238E27FC236}">
                  <a16:creationId xmlns:a16="http://schemas.microsoft.com/office/drawing/2014/main" id="{BE0C4BC1-757B-484D-9BDB-67ECBE076F33}"/>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46" name="Freeform 145">
              <a:extLst>
                <a:ext uri="{FF2B5EF4-FFF2-40B4-BE49-F238E27FC236}">
                  <a16:creationId xmlns:a16="http://schemas.microsoft.com/office/drawing/2014/main" id="{AE5D0EE8-6C17-6149-B0DC-F2AF0079816E}"/>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47" name="Freeform 146">
              <a:extLst>
                <a:ext uri="{FF2B5EF4-FFF2-40B4-BE49-F238E27FC236}">
                  <a16:creationId xmlns:a16="http://schemas.microsoft.com/office/drawing/2014/main" id="{1978D536-DFE3-F04E-A0AC-A2C53C4162CC}"/>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48" name="Freeform 147">
              <a:extLst>
                <a:ext uri="{FF2B5EF4-FFF2-40B4-BE49-F238E27FC236}">
                  <a16:creationId xmlns:a16="http://schemas.microsoft.com/office/drawing/2014/main" id="{8C97EE9F-8DB3-0B4A-A44D-C31307915716}"/>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49" name="Freeform 148">
              <a:extLst>
                <a:ext uri="{FF2B5EF4-FFF2-40B4-BE49-F238E27FC236}">
                  <a16:creationId xmlns:a16="http://schemas.microsoft.com/office/drawing/2014/main" id="{9C471679-6ECC-E640-8AC8-4F893C8DA659}"/>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50" name="Freeform 149">
              <a:extLst>
                <a:ext uri="{FF2B5EF4-FFF2-40B4-BE49-F238E27FC236}">
                  <a16:creationId xmlns:a16="http://schemas.microsoft.com/office/drawing/2014/main" id="{3189F592-5363-F24B-B794-C199572D35F6}"/>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51" name="Freeform 150">
              <a:extLst>
                <a:ext uri="{FF2B5EF4-FFF2-40B4-BE49-F238E27FC236}">
                  <a16:creationId xmlns:a16="http://schemas.microsoft.com/office/drawing/2014/main" id="{4BDF3A49-9C38-1E48-B755-E760F13CE641}"/>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52" name="Freeform 151">
              <a:extLst>
                <a:ext uri="{FF2B5EF4-FFF2-40B4-BE49-F238E27FC236}">
                  <a16:creationId xmlns:a16="http://schemas.microsoft.com/office/drawing/2014/main" id="{7E913B1D-A423-3F4F-96DE-787B87A6C97C}"/>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53" name="Freeform 152">
              <a:extLst>
                <a:ext uri="{FF2B5EF4-FFF2-40B4-BE49-F238E27FC236}">
                  <a16:creationId xmlns:a16="http://schemas.microsoft.com/office/drawing/2014/main" id="{1B43C26B-F36C-F84C-A320-09B5BEC983DC}"/>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54" name="Freeform 153">
              <a:extLst>
                <a:ext uri="{FF2B5EF4-FFF2-40B4-BE49-F238E27FC236}">
                  <a16:creationId xmlns:a16="http://schemas.microsoft.com/office/drawing/2014/main" id="{5415FFFF-611D-1C46-8F89-F75D924CEB7C}"/>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55" name="Freeform 154">
              <a:extLst>
                <a:ext uri="{FF2B5EF4-FFF2-40B4-BE49-F238E27FC236}">
                  <a16:creationId xmlns:a16="http://schemas.microsoft.com/office/drawing/2014/main" id="{4CA306FB-1CE7-2148-A491-3E2DD20C51E7}"/>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56" name="Freeform 155">
              <a:extLst>
                <a:ext uri="{FF2B5EF4-FFF2-40B4-BE49-F238E27FC236}">
                  <a16:creationId xmlns:a16="http://schemas.microsoft.com/office/drawing/2014/main" id="{537A009C-360F-5842-8386-A94805E194E2}"/>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57" name="Freeform 156">
              <a:extLst>
                <a:ext uri="{FF2B5EF4-FFF2-40B4-BE49-F238E27FC236}">
                  <a16:creationId xmlns:a16="http://schemas.microsoft.com/office/drawing/2014/main" id="{60938809-278F-EE43-A866-FE0406B1DF84}"/>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58" name="Freeform 157">
              <a:extLst>
                <a:ext uri="{FF2B5EF4-FFF2-40B4-BE49-F238E27FC236}">
                  <a16:creationId xmlns:a16="http://schemas.microsoft.com/office/drawing/2014/main" id="{097CBDD1-4D70-0248-B2A4-0346CFC0B4F1}"/>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59" name="Freeform 158">
              <a:extLst>
                <a:ext uri="{FF2B5EF4-FFF2-40B4-BE49-F238E27FC236}">
                  <a16:creationId xmlns:a16="http://schemas.microsoft.com/office/drawing/2014/main" id="{A211B46C-5377-7440-926C-D508BB06C499}"/>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60" name="Freeform 159">
              <a:extLst>
                <a:ext uri="{FF2B5EF4-FFF2-40B4-BE49-F238E27FC236}">
                  <a16:creationId xmlns:a16="http://schemas.microsoft.com/office/drawing/2014/main" id="{400E0484-A828-C644-9302-A31EFDA23843}"/>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grpSp>
        <p:nvGrpSpPr>
          <p:cNvPr id="161" name="Graphic 142">
            <a:extLst>
              <a:ext uri="{FF2B5EF4-FFF2-40B4-BE49-F238E27FC236}">
                <a16:creationId xmlns:a16="http://schemas.microsoft.com/office/drawing/2014/main" id="{99B6D9A8-24D2-E549-AEF8-96F47D6C4BF2}"/>
              </a:ext>
            </a:extLst>
          </p:cNvPr>
          <p:cNvGrpSpPr/>
          <p:nvPr/>
        </p:nvGrpSpPr>
        <p:grpSpPr>
          <a:xfrm>
            <a:off x="2914879" y="3985990"/>
            <a:ext cx="657017" cy="1133925"/>
            <a:chOff x="5009734" y="1528902"/>
            <a:chExt cx="2224912" cy="3839904"/>
          </a:xfrm>
          <a:solidFill>
            <a:schemeClr val="tx1">
              <a:lumMod val="75000"/>
              <a:lumOff val="25000"/>
            </a:schemeClr>
          </a:solidFill>
        </p:grpSpPr>
        <p:sp>
          <p:nvSpPr>
            <p:cNvPr id="162" name="Freeform 161">
              <a:extLst>
                <a:ext uri="{FF2B5EF4-FFF2-40B4-BE49-F238E27FC236}">
                  <a16:creationId xmlns:a16="http://schemas.microsoft.com/office/drawing/2014/main" id="{1835F041-A081-E942-8361-B2D5FE9C6194}"/>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63" name="Freeform 162">
              <a:extLst>
                <a:ext uri="{FF2B5EF4-FFF2-40B4-BE49-F238E27FC236}">
                  <a16:creationId xmlns:a16="http://schemas.microsoft.com/office/drawing/2014/main" id="{87300AC5-FF72-7243-9FE7-CF766947CE25}"/>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64" name="Freeform 163">
              <a:extLst>
                <a:ext uri="{FF2B5EF4-FFF2-40B4-BE49-F238E27FC236}">
                  <a16:creationId xmlns:a16="http://schemas.microsoft.com/office/drawing/2014/main" id="{083F95F6-C20E-DC49-8D38-49F6FACC90E6}"/>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65" name="Freeform 164">
              <a:extLst>
                <a:ext uri="{FF2B5EF4-FFF2-40B4-BE49-F238E27FC236}">
                  <a16:creationId xmlns:a16="http://schemas.microsoft.com/office/drawing/2014/main" id="{1CF8B608-3CBF-3745-80FA-2178083E77FD}"/>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66" name="Freeform 165">
              <a:extLst>
                <a:ext uri="{FF2B5EF4-FFF2-40B4-BE49-F238E27FC236}">
                  <a16:creationId xmlns:a16="http://schemas.microsoft.com/office/drawing/2014/main" id="{487077A0-B473-5746-95E3-3DC2E2924456}"/>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67" name="Freeform 166">
              <a:extLst>
                <a:ext uri="{FF2B5EF4-FFF2-40B4-BE49-F238E27FC236}">
                  <a16:creationId xmlns:a16="http://schemas.microsoft.com/office/drawing/2014/main" id="{EE57D9CE-8406-4945-9A84-7B56D3617EFE}"/>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68" name="Freeform 167">
              <a:extLst>
                <a:ext uri="{FF2B5EF4-FFF2-40B4-BE49-F238E27FC236}">
                  <a16:creationId xmlns:a16="http://schemas.microsoft.com/office/drawing/2014/main" id="{5ACEA678-BF72-1E47-AE4B-3959CA8A1544}"/>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69" name="Freeform 168">
              <a:extLst>
                <a:ext uri="{FF2B5EF4-FFF2-40B4-BE49-F238E27FC236}">
                  <a16:creationId xmlns:a16="http://schemas.microsoft.com/office/drawing/2014/main" id="{AE1DC44A-D926-9646-8E76-BC4E106B13E6}"/>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70" name="Freeform 169">
              <a:extLst>
                <a:ext uri="{FF2B5EF4-FFF2-40B4-BE49-F238E27FC236}">
                  <a16:creationId xmlns:a16="http://schemas.microsoft.com/office/drawing/2014/main" id="{D60900B5-73CC-9B4D-B198-DF9CF29DA1F5}"/>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71" name="Freeform 170">
              <a:extLst>
                <a:ext uri="{FF2B5EF4-FFF2-40B4-BE49-F238E27FC236}">
                  <a16:creationId xmlns:a16="http://schemas.microsoft.com/office/drawing/2014/main" id="{5296824F-9820-964E-8850-EAC6255F2FBB}"/>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72" name="Freeform 171">
              <a:extLst>
                <a:ext uri="{FF2B5EF4-FFF2-40B4-BE49-F238E27FC236}">
                  <a16:creationId xmlns:a16="http://schemas.microsoft.com/office/drawing/2014/main" id="{E35926A5-2305-1741-80C1-7765DA624831}"/>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73" name="Freeform 172">
              <a:extLst>
                <a:ext uri="{FF2B5EF4-FFF2-40B4-BE49-F238E27FC236}">
                  <a16:creationId xmlns:a16="http://schemas.microsoft.com/office/drawing/2014/main" id="{D5204314-6817-1147-9025-448A95DF89DF}"/>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74" name="Freeform 173">
              <a:extLst>
                <a:ext uri="{FF2B5EF4-FFF2-40B4-BE49-F238E27FC236}">
                  <a16:creationId xmlns:a16="http://schemas.microsoft.com/office/drawing/2014/main" id="{8C77FDE2-4224-C94C-9A78-675D85AB95F5}"/>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75" name="Freeform 174">
              <a:extLst>
                <a:ext uri="{FF2B5EF4-FFF2-40B4-BE49-F238E27FC236}">
                  <a16:creationId xmlns:a16="http://schemas.microsoft.com/office/drawing/2014/main" id="{86B13B5A-D4B2-634C-8DEE-ED49161AFD13}"/>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76" name="Freeform 175">
              <a:extLst>
                <a:ext uri="{FF2B5EF4-FFF2-40B4-BE49-F238E27FC236}">
                  <a16:creationId xmlns:a16="http://schemas.microsoft.com/office/drawing/2014/main" id="{088026FE-8DA4-CB4F-BAB8-9D972AC1CE57}"/>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77" name="Freeform 176">
              <a:extLst>
                <a:ext uri="{FF2B5EF4-FFF2-40B4-BE49-F238E27FC236}">
                  <a16:creationId xmlns:a16="http://schemas.microsoft.com/office/drawing/2014/main" id="{391ED59A-A991-0443-9AEC-997854A5EF1E}"/>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78" name="Freeform 177">
              <a:extLst>
                <a:ext uri="{FF2B5EF4-FFF2-40B4-BE49-F238E27FC236}">
                  <a16:creationId xmlns:a16="http://schemas.microsoft.com/office/drawing/2014/main" id="{523AFB87-6B81-784A-BB9D-05A75CE2275D}"/>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sp>
        <p:nvSpPr>
          <p:cNvPr id="180" name="Freeform 52">
            <a:extLst>
              <a:ext uri="{FF2B5EF4-FFF2-40B4-BE49-F238E27FC236}">
                <a16:creationId xmlns:a16="http://schemas.microsoft.com/office/drawing/2014/main" id="{DE045901-76F1-400F-ADDA-FB63453E374C}"/>
              </a:ext>
            </a:extLst>
          </p:cNvPr>
          <p:cNvSpPr/>
          <p:nvPr/>
        </p:nvSpPr>
        <p:spPr>
          <a:xfrm>
            <a:off x="0" y="-8534400"/>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grpSp>
        <p:nvGrpSpPr>
          <p:cNvPr id="181" name="Group 29">
            <a:extLst>
              <a:ext uri="{FF2B5EF4-FFF2-40B4-BE49-F238E27FC236}">
                <a16:creationId xmlns:a16="http://schemas.microsoft.com/office/drawing/2014/main" id="{675931EF-10D5-4070-84D7-C595E77CDE64}"/>
              </a:ext>
            </a:extLst>
          </p:cNvPr>
          <p:cNvGrpSpPr/>
          <p:nvPr/>
        </p:nvGrpSpPr>
        <p:grpSpPr>
          <a:xfrm>
            <a:off x="-842559" y="494367"/>
            <a:ext cx="827568" cy="828000"/>
            <a:chOff x="-842559" y="468160"/>
            <a:chExt cx="827568" cy="828000"/>
          </a:xfrm>
        </p:grpSpPr>
        <p:sp>
          <p:nvSpPr>
            <p:cNvPr id="182" name="Oval 30">
              <a:extLst>
                <a:ext uri="{FF2B5EF4-FFF2-40B4-BE49-F238E27FC236}">
                  <a16:creationId xmlns:a16="http://schemas.microsoft.com/office/drawing/2014/main" id="{CB216BDC-8B9D-4F28-9976-B13EC6BA6E92}"/>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83" name="Graphic 31" descr="Lightbulb">
              <a:extLst>
                <a:ext uri="{FF2B5EF4-FFF2-40B4-BE49-F238E27FC236}">
                  <a16:creationId xmlns:a16="http://schemas.microsoft.com/office/drawing/2014/main" id="{D7D780DE-6020-488D-B2C7-5124ED3B72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293" y="530642"/>
              <a:ext cx="703036" cy="703036"/>
            </a:xfrm>
            <a:prstGeom prst="rect">
              <a:avLst/>
            </a:prstGeom>
          </p:spPr>
        </p:pic>
      </p:grpSp>
      <p:grpSp>
        <p:nvGrpSpPr>
          <p:cNvPr id="184" name="Group 32">
            <a:extLst>
              <a:ext uri="{FF2B5EF4-FFF2-40B4-BE49-F238E27FC236}">
                <a16:creationId xmlns:a16="http://schemas.microsoft.com/office/drawing/2014/main" id="{0263A9E4-8CF1-49B2-BBF8-5D19F37E71FC}"/>
              </a:ext>
            </a:extLst>
          </p:cNvPr>
          <p:cNvGrpSpPr/>
          <p:nvPr/>
        </p:nvGrpSpPr>
        <p:grpSpPr>
          <a:xfrm>
            <a:off x="-842559" y="1741580"/>
            <a:ext cx="827568" cy="828000"/>
            <a:chOff x="-842559" y="1741580"/>
            <a:chExt cx="827568" cy="828000"/>
          </a:xfrm>
        </p:grpSpPr>
        <p:sp>
          <p:nvSpPr>
            <p:cNvPr id="185" name="Oval 33">
              <a:extLst>
                <a:ext uri="{FF2B5EF4-FFF2-40B4-BE49-F238E27FC236}">
                  <a16:creationId xmlns:a16="http://schemas.microsoft.com/office/drawing/2014/main" id="{9D71B160-C389-4902-9B38-6E5BDF7B5968}"/>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86" name="Graphic 34" descr="Point d’exclamation">
              <a:extLst>
                <a:ext uri="{FF2B5EF4-FFF2-40B4-BE49-F238E27FC236}">
                  <a16:creationId xmlns:a16="http://schemas.microsoft.com/office/drawing/2014/main" id="{2FBB46DD-65C4-445C-B258-7A4BDE3F8D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4943" y="1849412"/>
              <a:ext cx="612336" cy="612336"/>
            </a:xfrm>
            <a:prstGeom prst="rect">
              <a:avLst/>
            </a:prstGeom>
          </p:spPr>
        </p:pic>
      </p:grpSp>
      <p:grpSp>
        <p:nvGrpSpPr>
          <p:cNvPr id="187" name="Group 38">
            <a:extLst>
              <a:ext uri="{FF2B5EF4-FFF2-40B4-BE49-F238E27FC236}">
                <a16:creationId xmlns:a16="http://schemas.microsoft.com/office/drawing/2014/main" id="{34CB717B-5799-4E82-9FE9-D04816D93A58}"/>
              </a:ext>
            </a:extLst>
          </p:cNvPr>
          <p:cNvGrpSpPr/>
          <p:nvPr/>
        </p:nvGrpSpPr>
        <p:grpSpPr>
          <a:xfrm>
            <a:off x="-842559" y="4288420"/>
            <a:ext cx="827568" cy="828000"/>
            <a:chOff x="-842559" y="4288420"/>
            <a:chExt cx="827568" cy="828000"/>
          </a:xfrm>
        </p:grpSpPr>
        <p:sp>
          <p:nvSpPr>
            <p:cNvPr id="188" name="Oval 39">
              <a:extLst>
                <a:ext uri="{FF2B5EF4-FFF2-40B4-BE49-F238E27FC236}">
                  <a16:creationId xmlns:a16="http://schemas.microsoft.com/office/drawing/2014/main" id="{BD42DE96-31F9-45AE-8B49-48D5C5C6341C}"/>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89" name="Graphic 40" descr="Single gear">
              <a:extLst>
                <a:ext uri="{FF2B5EF4-FFF2-40B4-BE49-F238E27FC236}">
                  <a16:creationId xmlns:a16="http://schemas.microsoft.com/office/drawing/2014/main" id="{942E483D-A79E-4C93-82D5-7C1464B3620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0293" y="4363185"/>
              <a:ext cx="724649" cy="724649"/>
            </a:xfrm>
            <a:prstGeom prst="rect">
              <a:avLst/>
            </a:prstGeom>
          </p:spPr>
        </p:pic>
      </p:grpSp>
      <p:grpSp>
        <p:nvGrpSpPr>
          <p:cNvPr id="190" name="Group 41">
            <a:extLst>
              <a:ext uri="{FF2B5EF4-FFF2-40B4-BE49-F238E27FC236}">
                <a16:creationId xmlns:a16="http://schemas.microsoft.com/office/drawing/2014/main" id="{37E37C7B-D695-4135-8708-0249F7018DA3}"/>
              </a:ext>
            </a:extLst>
          </p:cNvPr>
          <p:cNvGrpSpPr/>
          <p:nvPr/>
        </p:nvGrpSpPr>
        <p:grpSpPr>
          <a:xfrm>
            <a:off x="-842559" y="5561839"/>
            <a:ext cx="827568" cy="828000"/>
            <a:chOff x="-842559" y="5561839"/>
            <a:chExt cx="827568" cy="828000"/>
          </a:xfrm>
        </p:grpSpPr>
        <p:sp>
          <p:nvSpPr>
            <p:cNvPr id="191" name="Oval 42">
              <a:extLst>
                <a:ext uri="{FF2B5EF4-FFF2-40B4-BE49-F238E27FC236}">
                  <a16:creationId xmlns:a16="http://schemas.microsoft.com/office/drawing/2014/main" id="{3E970442-A9C2-4C2C-A3F7-267DE115E745}"/>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92" name="Graphic 43">
              <a:hlinkClick r:id="rId15" action="ppaction://hlinksldjump"/>
              <a:extLst>
                <a:ext uri="{FF2B5EF4-FFF2-40B4-BE49-F238E27FC236}">
                  <a16:creationId xmlns:a16="http://schemas.microsoft.com/office/drawing/2014/main" id="{54A6B4C2-99DE-4B9E-8130-4FD5C3456BE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80909" y="5753591"/>
              <a:ext cx="534250" cy="474889"/>
            </a:xfrm>
            <a:prstGeom prst="rect">
              <a:avLst/>
            </a:prstGeom>
          </p:spPr>
        </p:pic>
      </p:grpSp>
      <p:grpSp>
        <p:nvGrpSpPr>
          <p:cNvPr id="193" name="Group 35">
            <a:extLst>
              <a:ext uri="{FF2B5EF4-FFF2-40B4-BE49-F238E27FC236}">
                <a16:creationId xmlns:a16="http://schemas.microsoft.com/office/drawing/2014/main" id="{49DD0F69-69CB-4A6A-9286-74CC7E3923D2}"/>
              </a:ext>
            </a:extLst>
          </p:cNvPr>
          <p:cNvGrpSpPr/>
          <p:nvPr/>
        </p:nvGrpSpPr>
        <p:grpSpPr>
          <a:xfrm>
            <a:off x="866458" y="3015000"/>
            <a:ext cx="827568" cy="828000"/>
            <a:chOff x="-837416" y="3015000"/>
            <a:chExt cx="827568" cy="828000"/>
          </a:xfrm>
        </p:grpSpPr>
        <p:sp>
          <p:nvSpPr>
            <p:cNvPr id="194" name="Oval 36">
              <a:extLst>
                <a:ext uri="{FF2B5EF4-FFF2-40B4-BE49-F238E27FC236}">
                  <a16:creationId xmlns:a16="http://schemas.microsoft.com/office/drawing/2014/main" id="{AF402627-584A-48D3-8308-28C592615598}"/>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95" name="Graphic 37">
              <a:extLst>
                <a:ext uri="{FF2B5EF4-FFF2-40B4-BE49-F238E27FC236}">
                  <a16:creationId xmlns:a16="http://schemas.microsoft.com/office/drawing/2014/main" id="{D977F1B8-D8EB-470D-9486-8BEE5133F21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29168" y="3127457"/>
              <a:ext cx="620915" cy="620915"/>
            </a:xfrm>
            <a:prstGeom prst="rect">
              <a:avLst/>
            </a:prstGeom>
          </p:spPr>
        </p:pic>
      </p:grpSp>
      <p:pic>
        <p:nvPicPr>
          <p:cNvPr id="196" name="Graphic 45" descr="Lightbulb">
            <a:hlinkClick r:id="rId20" action="ppaction://hlinksldjump"/>
            <a:extLst>
              <a:ext uri="{FF2B5EF4-FFF2-40B4-BE49-F238E27FC236}">
                <a16:creationId xmlns:a16="http://schemas.microsoft.com/office/drawing/2014/main" id="{FCB94118-EF78-445D-9081-2D2DCEFE403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77756" y="530641"/>
            <a:ext cx="703036" cy="703036"/>
          </a:xfrm>
          <a:prstGeom prst="rect">
            <a:avLst/>
          </a:prstGeom>
        </p:spPr>
      </p:pic>
      <p:pic>
        <p:nvPicPr>
          <p:cNvPr id="197" name="Graphic 46" descr="Point d’exclamation">
            <a:hlinkClick r:id="rId23" action="ppaction://hlinksldjump"/>
            <a:extLst>
              <a:ext uri="{FF2B5EF4-FFF2-40B4-BE49-F238E27FC236}">
                <a16:creationId xmlns:a16="http://schemas.microsoft.com/office/drawing/2014/main" id="{9873E2C7-7910-4C0F-AD09-07D9EE75E6B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23106" y="1849411"/>
            <a:ext cx="612336" cy="612336"/>
          </a:xfrm>
          <a:prstGeom prst="rect">
            <a:avLst/>
          </a:prstGeom>
        </p:spPr>
      </p:pic>
      <p:pic>
        <p:nvPicPr>
          <p:cNvPr id="198" name="Graphic 47" descr="Coffee">
            <a:hlinkClick r:id="rId15" action="ppaction://hlinksldjump"/>
            <a:extLst>
              <a:ext uri="{FF2B5EF4-FFF2-40B4-BE49-F238E27FC236}">
                <a16:creationId xmlns:a16="http://schemas.microsoft.com/office/drawing/2014/main" id="{23591C5A-0D6B-4AC9-8E3B-36DD864B9A2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59877" y="3065464"/>
            <a:ext cx="620915" cy="620915"/>
          </a:xfrm>
          <a:prstGeom prst="rect">
            <a:avLst/>
          </a:prstGeom>
        </p:spPr>
      </p:pic>
      <p:pic>
        <p:nvPicPr>
          <p:cNvPr id="199" name="Graphic 48" descr="Single gear">
            <a:hlinkClick r:id="rId28" action="ppaction://hlinksldjump"/>
            <a:extLst>
              <a:ext uri="{FF2B5EF4-FFF2-40B4-BE49-F238E27FC236}">
                <a16:creationId xmlns:a16="http://schemas.microsoft.com/office/drawing/2014/main" id="{79382130-0836-44E3-9E78-A1EAD03E7C0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77756" y="4363184"/>
            <a:ext cx="724649" cy="724649"/>
          </a:xfrm>
          <a:prstGeom prst="rect">
            <a:avLst/>
          </a:prstGeom>
        </p:spPr>
      </p:pic>
      <p:pic>
        <p:nvPicPr>
          <p:cNvPr id="200" name="Graphic 49">
            <a:hlinkClick r:id="rId15" action="ppaction://hlinksldjump"/>
            <a:extLst>
              <a:ext uri="{FF2B5EF4-FFF2-40B4-BE49-F238E27FC236}">
                <a16:creationId xmlns:a16="http://schemas.microsoft.com/office/drawing/2014/main" id="{A3D7B064-4E3B-4566-8C50-0FB39F250CFA}"/>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58003" y="5715140"/>
            <a:ext cx="577508" cy="513340"/>
          </a:xfrm>
          <a:prstGeom prst="rect">
            <a:avLst/>
          </a:prstGeom>
        </p:spPr>
      </p:pic>
    </p:spTree>
    <p:extLst>
      <p:ext uri="{BB962C8B-B14F-4D97-AF65-F5344CB8AC3E}">
        <p14:creationId xmlns:p14="http://schemas.microsoft.com/office/powerpoint/2010/main" val="385851691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589B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EC63FC5E-6D9E-4D4D-BC0C-D4F1B35EFA23}"/>
              </a:ext>
            </a:extLst>
          </p:cNvPr>
          <p:cNvGrpSpPr/>
          <p:nvPr/>
        </p:nvGrpSpPr>
        <p:grpSpPr>
          <a:xfrm>
            <a:off x="-842559" y="494367"/>
            <a:ext cx="827568" cy="828000"/>
            <a:chOff x="-842559" y="468160"/>
            <a:chExt cx="827568" cy="828000"/>
          </a:xfrm>
        </p:grpSpPr>
        <p:sp>
          <p:nvSpPr>
            <p:cNvPr id="26" name="Oval 25">
              <a:extLst>
                <a:ext uri="{FF2B5EF4-FFF2-40B4-BE49-F238E27FC236}">
                  <a16:creationId xmlns:a16="http://schemas.microsoft.com/office/drawing/2014/main" id="{E192C37B-9B9A-394F-A8B0-8E2E8EBEF6AB}"/>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27" name="Graphic 26" descr="Lightbulb">
              <a:extLst>
                <a:ext uri="{FF2B5EF4-FFF2-40B4-BE49-F238E27FC236}">
                  <a16:creationId xmlns:a16="http://schemas.microsoft.com/office/drawing/2014/main" id="{C7AB62C5-F1A8-C84F-A55F-AC3ADF171D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293" y="530642"/>
              <a:ext cx="703036" cy="703036"/>
            </a:xfrm>
            <a:prstGeom prst="rect">
              <a:avLst/>
            </a:prstGeom>
          </p:spPr>
        </p:pic>
      </p:grpSp>
      <p:grpSp>
        <p:nvGrpSpPr>
          <p:cNvPr id="28" name="Group 27">
            <a:extLst>
              <a:ext uri="{FF2B5EF4-FFF2-40B4-BE49-F238E27FC236}">
                <a16:creationId xmlns:a16="http://schemas.microsoft.com/office/drawing/2014/main" id="{2CEA4CB1-6025-594D-AAA1-A7EEEC7B4A6B}"/>
              </a:ext>
            </a:extLst>
          </p:cNvPr>
          <p:cNvGrpSpPr/>
          <p:nvPr/>
        </p:nvGrpSpPr>
        <p:grpSpPr>
          <a:xfrm>
            <a:off x="-842559" y="1741580"/>
            <a:ext cx="827568" cy="828000"/>
            <a:chOff x="-842559" y="1741580"/>
            <a:chExt cx="827568" cy="828000"/>
          </a:xfrm>
        </p:grpSpPr>
        <p:sp>
          <p:nvSpPr>
            <p:cNvPr id="29" name="Oval 28">
              <a:extLst>
                <a:ext uri="{FF2B5EF4-FFF2-40B4-BE49-F238E27FC236}">
                  <a16:creationId xmlns:a16="http://schemas.microsoft.com/office/drawing/2014/main" id="{CA675418-8523-D340-B3D1-F44CFCA7A477}"/>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0" name="Graphic 29" descr="Point d’exclamation">
              <a:hlinkClick r:id="rId5" action="ppaction://hlinksldjump"/>
              <a:extLst>
                <a:ext uri="{FF2B5EF4-FFF2-40B4-BE49-F238E27FC236}">
                  <a16:creationId xmlns:a16="http://schemas.microsoft.com/office/drawing/2014/main" id="{11240A1E-FB48-CE42-98C1-8961628809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943" y="1849412"/>
              <a:ext cx="612336" cy="612336"/>
            </a:xfrm>
            <a:prstGeom prst="rect">
              <a:avLst/>
            </a:prstGeom>
          </p:spPr>
        </p:pic>
      </p:grpSp>
      <p:grpSp>
        <p:nvGrpSpPr>
          <p:cNvPr id="31" name="Group 30">
            <a:extLst>
              <a:ext uri="{FF2B5EF4-FFF2-40B4-BE49-F238E27FC236}">
                <a16:creationId xmlns:a16="http://schemas.microsoft.com/office/drawing/2014/main" id="{26C59AE6-E4FD-1247-90CD-9E71B4FB6B8E}"/>
              </a:ext>
            </a:extLst>
          </p:cNvPr>
          <p:cNvGrpSpPr/>
          <p:nvPr/>
        </p:nvGrpSpPr>
        <p:grpSpPr>
          <a:xfrm>
            <a:off x="866377" y="4288420"/>
            <a:ext cx="827568" cy="828000"/>
            <a:chOff x="-842559" y="4288420"/>
            <a:chExt cx="827568" cy="828000"/>
          </a:xfrm>
        </p:grpSpPr>
        <p:sp>
          <p:nvSpPr>
            <p:cNvPr id="32" name="Oval 31">
              <a:extLst>
                <a:ext uri="{FF2B5EF4-FFF2-40B4-BE49-F238E27FC236}">
                  <a16:creationId xmlns:a16="http://schemas.microsoft.com/office/drawing/2014/main" id="{545335E2-162B-FE45-B9B7-64BAFAADA8A3}"/>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3" name="Graphic 32" descr="Single gear">
              <a:hlinkClick r:id="rId8" action="ppaction://hlinksldjump"/>
              <a:extLst>
                <a:ext uri="{FF2B5EF4-FFF2-40B4-BE49-F238E27FC236}">
                  <a16:creationId xmlns:a16="http://schemas.microsoft.com/office/drawing/2014/main" id="{BAA9B317-68EE-B14A-9C24-FD1DCBC427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293" y="4363185"/>
              <a:ext cx="724649" cy="724649"/>
            </a:xfrm>
            <a:prstGeom prst="rect">
              <a:avLst/>
            </a:prstGeom>
          </p:spPr>
        </p:pic>
      </p:grpSp>
      <p:grpSp>
        <p:nvGrpSpPr>
          <p:cNvPr id="34" name="Group 33">
            <a:extLst>
              <a:ext uri="{FF2B5EF4-FFF2-40B4-BE49-F238E27FC236}">
                <a16:creationId xmlns:a16="http://schemas.microsoft.com/office/drawing/2014/main" id="{56EA1DA1-572D-B245-92EB-61A2A047B751}"/>
              </a:ext>
            </a:extLst>
          </p:cNvPr>
          <p:cNvGrpSpPr/>
          <p:nvPr/>
        </p:nvGrpSpPr>
        <p:grpSpPr>
          <a:xfrm>
            <a:off x="-842559" y="5561839"/>
            <a:ext cx="827568" cy="828000"/>
            <a:chOff x="-842559" y="5561839"/>
            <a:chExt cx="827568" cy="828000"/>
          </a:xfrm>
        </p:grpSpPr>
        <p:sp>
          <p:nvSpPr>
            <p:cNvPr id="35" name="Oval 34">
              <a:extLst>
                <a:ext uri="{FF2B5EF4-FFF2-40B4-BE49-F238E27FC236}">
                  <a16:creationId xmlns:a16="http://schemas.microsoft.com/office/drawing/2014/main" id="{BBFF7D67-BB4C-5A48-B4AA-9FBC7AA1425D}"/>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6" name="Graphic 35">
              <a:hlinkClick r:id="rId11" action="ppaction://hlinksldjump"/>
              <a:extLst>
                <a:ext uri="{FF2B5EF4-FFF2-40B4-BE49-F238E27FC236}">
                  <a16:creationId xmlns:a16="http://schemas.microsoft.com/office/drawing/2014/main" id="{B464236C-9F7D-4443-AEB3-2C76AEBA8DD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1531" y="5731233"/>
              <a:ext cx="542637" cy="482343"/>
            </a:xfrm>
            <a:prstGeom prst="rect">
              <a:avLst/>
            </a:prstGeom>
          </p:spPr>
        </p:pic>
      </p:grpSp>
      <p:grpSp>
        <p:nvGrpSpPr>
          <p:cNvPr id="37" name="Group 36">
            <a:extLst>
              <a:ext uri="{FF2B5EF4-FFF2-40B4-BE49-F238E27FC236}">
                <a16:creationId xmlns:a16="http://schemas.microsoft.com/office/drawing/2014/main" id="{0FADB3F2-FCE0-F040-BFF2-F08CB43BFE52}"/>
              </a:ext>
            </a:extLst>
          </p:cNvPr>
          <p:cNvGrpSpPr/>
          <p:nvPr/>
        </p:nvGrpSpPr>
        <p:grpSpPr>
          <a:xfrm>
            <a:off x="-842559" y="3015000"/>
            <a:ext cx="827568" cy="828000"/>
            <a:chOff x="-837416" y="3015000"/>
            <a:chExt cx="827568" cy="828000"/>
          </a:xfrm>
        </p:grpSpPr>
        <p:sp>
          <p:nvSpPr>
            <p:cNvPr id="38" name="Oval 37">
              <a:extLst>
                <a:ext uri="{FF2B5EF4-FFF2-40B4-BE49-F238E27FC236}">
                  <a16:creationId xmlns:a16="http://schemas.microsoft.com/office/drawing/2014/main" id="{C4C4BE24-7816-2F41-AD27-6CC03B28405B}"/>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9" name="Graphic 38">
              <a:hlinkClick r:id="rId14" action="ppaction://hlinksldjump"/>
              <a:extLst>
                <a:ext uri="{FF2B5EF4-FFF2-40B4-BE49-F238E27FC236}">
                  <a16:creationId xmlns:a16="http://schemas.microsoft.com/office/drawing/2014/main" id="{90191F78-2A0B-D74E-8D3F-F929E2AB419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44666" y="3111959"/>
              <a:ext cx="620915" cy="620915"/>
            </a:xfrm>
            <a:prstGeom prst="rect">
              <a:avLst/>
            </a:prstGeom>
          </p:spPr>
        </p:pic>
      </p:grpSp>
      <p:sp>
        <p:nvSpPr>
          <p:cNvPr id="40" name="Freeform 39">
            <a:extLst>
              <a:ext uri="{FF2B5EF4-FFF2-40B4-BE49-F238E27FC236}">
                <a16:creationId xmlns:a16="http://schemas.microsoft.com/office/drawing/2014/main" id="{B0A97710-16C9-C045-950D-214E7DB1BF46}"/>
              </a:ext>
            </a:extLst>
          </p:cNvPr>
          <p:cNvSpPr/>
          <p:nvPr/>
        </p:nvSpPr>
        <p:spPr>
          <a:xfrm>
            <a:off x="0" y="-7260980"/>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41" name="Graphic 40" descr="Lightbulb">
            <a:hlinkClick r:id="rId17" action="ppaction://hlinksldjump"/>
            <a:extLst>
              <a:ext uri="{FF2B5EF4-FFF2-40B4-BE49-F238E27FC236}">
                <a16:creationId xmlns:a16="http://schemas.microsoft.com/office/drawing/2014/main" id="{A9C9134B-77D2-F747-9433-19E4D3B55DA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77756" y="530641"/>
            <a:ext cx="703036" cy="703036"/>
          </a:xfrm>
          <a:prstGeom prst="rect">
            <a:avLst/>
          </a:prstGeom>
        </p:spPr>
      </p:pic>
      <p:pic>
        <p:nvPicPr>
          <p:cNvPr id="42" name="Graphic 41" descr="Point d’exclamation">
            <a:hlinkClick r:id="rId5" action="ppaction://hlinksldjump"/>
            <a:extLst>
              <a:ext uri="{FF2B5EF4-FFF2-40B4-BE49-F238E27FC236}">
                <a16:creationId xmlns:a16="http://schemas.microsoft.com/office/drawing/2014/main" id="{915F845C-8AF9-094E-97C1-78346E15382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23106" y="1849411"/>
            <a:ext cx="612336" cy="612336"/>
          </a:xfrm>
          <a:prstGeom prst="rect">
            <a:avLst/>
          </a:prstGeom>
        </p:spPr>
      </p:pic>
      <p:pic>
        <p:nvPicPr>
          <p:cNvPr id="43" name="Graphic 42">
            <a:hlinkClick r:id="rId14" action="ppaction://hlinksldjump"/>
            <a:extLst>
              <a:ext uri="{FF2B5EF4-FFF2-40B4-BE49-F238E27FC236}">
                <a16:creationId xmlns:a16="http://schemas.microsoft.com/office/drawing/2014/main" id="{77442FFC-4A0E-234A-AACE-E800DFB1F36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59877" y="3127456"/>
            <a:ext cx="620915" cy="620915"/>
          </a:xfrm>
          <a:prstGeom prst="rect">
            <a:avLst/>
          </a:prstGeom>
        </p:spPr>
      </p:pic>
      <p:pic>
        <p:nvPicPr>
          <p:cNvPr id="44" name="Graphic 43" descr="Single gear">
            <a:hlinkClick r:id="rId8" action="ppaction://hlinksldjump"/>
            <a:extLst>
              <a:ext uri="{FF2B5EF4-FFF2-40B4-BE49-F238E27FC236}">
                <a16:creationId xmlns:a16="http://schemas.microsoft.com/office/drawing/2014/main" id="{852CEB05-671C-9C41-9B56-CE3D3A915BD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77756" y="4363184"/>
            <a:ext cx="724649" cy="724649"/>
          </a:xfrm>
          <a:prstGeom prst="rect">
            <a:avLst/>
          </a:prstGeom>
        </p:spPr>
      </p:pic>
      <p:pic>
        <p:nvPicPr>
          <p:cNvPr id="45" name="Graphic 44">
            <a:hlinkClick r:id="rId11" action="ppaction://hlinksldjump"/>
            <a:extLst>
              <a:ext uri="{FF2B5EF4-FFF2-40B4-BE49-F238E27FC236}">
                <a16:creationId xmlns:a16="http://schemas.microsoft.com/office/drawing/2014/main" id="{21130883-0A3B-EB43-8662-49C6D40C9CE4}"/>
              </a:ext>
            </a:extLst>
          </p:cNvPr>
          <p:cNvPicPr>
            <a:picLocks noChangeAspect="1"/>
          </p:cNvPicPr>
          <p:nvPr/>
        </p:nvPicPr>
        <p:blipFill rotWithShape="1">
          <a:blip r:embed="rId26">
            <a:extLst>
              <a:ext uri="{96DAC541-7B7A-43D3-8B79-37D633B846F1}">
                <asvg:svgBlip xmlns:asvg="http://schemas.microsoft.com/office/drawing/2016/SVG/main" r:embed="rId27"/>
              </a:ext>
            </a:extLst>
          </a:blip>
          <a:srcRect l="-7958" t="-1518" r="-7958" b="-1518"/>
          <a:stretch/>
        </p:blipFill>
        <p:spPr>
          <a:xfrm>
            <a:off x="394900" y="5731233"/>
            <a:ext cx="585892" cy="520792"/>
          </a:xfrm>
          <a:prstGeom prst="rect">
            <a:avLst/>
          </a:prstGeom>
        </p:spPr>
      </p:pic>
      <p:sp>
        <p:nvSpPr>
          <p:cNvPr id="46" name="TextBox 45">
            <a:extLst>
              <a:ext uri="{FF2B5EF4-FFF2-40B4-BE49-F238E27FC236}">
                <a16:creationId xmlns:a16="http://schemas.microsoft.com/office/drawing/2014/main" id="{81700177-3C7A-8240-9477-5758AF57C67B}"/>
              </a:ext>
            </a:extLst>
          </p:cNvPr>
          <p:cNvSpPr txBox="1"/>
          <p:nvPr/>
        </p:nvSpPr>
        <p:spPr>
          <a:xfrm>
            <a:off x="3522372" y="583080"/>
            <a:ext cx="5790368" cy="584775"/>
          </a:xfrm>
          <a:prstGeom prst="rect">
            <a:avLst/>
          </a:prstGeom>
          <a:noFill/>
        </p:spPr>
        <p:txBody>
          <a:bodyPr wrap="none" rtlCol="0">
            <a:spAutoFit/>
          </a:bodyPr>
          <a:lstStyle/>
          <a:p>
            <a:pPr algn="ctr"/>
            <a:r>
              <a:rPr lang="fr-FR" sz="3200" b="1" spc="300" dirty="0">
                <a:solidFill>
                  <a:schemeClr val="bg1"/>
                </a:solidFill>
                <a:latin typeface="Montserrat" pitchFamily="2" charset="77"/>
              </a:rPr>
              <a:t>INSTALLATION DE GIT </a:t>
            </a:r>
            <a:endParaRPr lang="en-LT" sz="3200" b="1" spc="300" dirty="0">
              <a:solidFill>
                <a:schemeClr val="bg1"/>
              </a:solidFill>
              <a:latin typeface="Montserrat" pitchFamily="2" charset="77"/>
            </a:endParaRPr>
          </a:p>
        </p:txBody>
      </p:sp>
      <p:sp>
        <p:nvSpPr>
          <p:cNvPr id="47" name="TextBox 46">
            <a:extLst>
              <a:ext uri="{FF2B5EF4-FFF2-40B4-BE49-F238E27FC236}">
                <a16:creationId xmlns:a16="http://schemas.microsoft.com/office/drawing/2014/main" id="{F468EA0C-789C-3347-B6A8-E15F5D431AAE}"/>
              </a:ext>
            </a:extLst>
          </p:cNvPr>
          <p:cNvSpPr txBox="1"/>
          <p:nvPr/>
        </p:nvSpPr>
        <p:spPr>
          <a:xfrm>
            <a:off x="1357344" y="2881283"/>
            <a:ext cx="3839513" cy="584775"/>
          </a:xfrm>
          <a:prstGeom prst="rect">
            <a:avLst/>
          </a:prstGeom>
          <a:noFill/>
        </p:spPr>
        <p:txBody>
          <a:bodyPr wrap="none" rtlCol="0">
            <a:spAutoFit/>
          </a:bodyPr>
          <a:lstStyle/>
          <a:p>
            <a:pPr algn="ctr"/>
            <a:r>
              <a:rPr lang="fr-FR" sz="1600" b="1" spc="300" dirty="0">
                <a:solidFill>
                  <a:schemeClr val="bg1"/>
                </a:solidFill>
                <a:latin typeface="Montserrat" pitchFamily="2" charset="77"/>
              </a:rPr>
              <a:t>Comment mettre</a:t>
            </a:r>
          </a:p>
          <a:p>
            <a:pPr algn="ctr"/>
            <a:r>
              <a:rPr lang="fr-FR" sz="1600" b="1" spc="300" dirty="0">
                <a:solidFill>
                  <a:schemeClr val="bg1"/>
                </a:solidFill>
                <a:latin typeface="Montserrat" pitchFamily="2" charset="77"/>
              </a:rPr>
              <a:t> Git sur mon ordinateur ?</a:t>
            </a:r>
            <a:endParaRPr lang="en-LT" sz="1600" b="1" spc="300" dirty="0">
              <a:solidFill>
                <a:schemeClr val="bg1"/>
              </a:solidFill>
              <a:latin typeface="Montserrat" pitchFamily="2" charset="77"/>
            </a:endParaRPr>
          </a:p>
        </p:txBody>
      </p:sp>
      <p:sp>
        <p:nvSpPr>
          <p:cNvPr id="49" name="TextBox 48">
            <a:extLst>
              <a:ext uri="{FF2B5EF4-FFF2-40B4-BE49-F238E27FC236}">
                <a16:creationId xmlns:a16="http://schemas.microsoft.com/office/drawing/2014/main" id="{372FC868-5893-B849-9781-55B71CB5CA35}"/>
              </a:ext>
            </a:extLst>
          </p:cNvPr>
          <p:cNvSpPr txBox="1"/>
          <p:nvPr/>
        </p:nvSpPr>
        <p:spPr>
          <a:xfrm>
            <a:off x="1610620" y="5158759"/>
            <a:ext cx="3332964" cy="338554"/>
          </a:xfrm>
          <a:prstGeom prst="rect">
            <a:avLst/>
          </a:prstGeom>
          <a:noFill/>
        </p:spPr>
        <p:txBody>
          <a:bodyPr wrap="none" rtlCol="0">
            <a:spAutoFit/>
          </a:bodyPr>
          <a:lstStyle/>
          <a:p>
            <a:pPr algn="ctr"/>
            <a:r>
              <a:rPr lang="fr-FR" sz="1600" b="1" spc="300" dirty="0">
                <a:solidFill>
                  <a:schemeClr val="bg1"/>
                </a:solidFill>
                <a:latin typeface="Montserrat" pitchFamily="2" charset="77"/>
              </a:rPr>
              <a:t>PARAMÉTRAGE DE GIT</a:t>
            </a:r>
            <a:endParaRPr lang="en-LT" sz="1600" b="1" spc="300" dirty="0">
              <a:solidFill>
                <a:schemeClr val="bg1"/>
              </a:solidFill>
              <a:latin typeface="Montserrat" pitchFamily="2" charset="77"/>
            </a:endParaRPr>
          </a:p>
        </p:txBody>
      </p:sp>
      <p:sp>
        <p:nvSpPr>
          <p:cNvPr id="51" name="TextBox 50">
            <a:extLst>
              <a:ext uri="{FF2B5EF4-FFF2-40B4-BE49-F238E27FC236}">
                <a16:creationId xmlns:a16="http://schemas.microsoft.com/office/drawing/2014/main" id="{6FDBA952-862B-5F44-905C-45F445697ADE}"/>
              </a:ext>
            </a:extLst>
          </p:cNvPr>
          <p:cNvSpPr txBox="1"/>
          <p:nvPr/>
        </p:nvSpPr>
        <p:spPr>
          <a:xfrm>
            <a:off x="7782086" y="2850682"/>
            <a:ext cx="3541354" cy="584775"/>
          </a:xfrm>
          <a:prstGeom prst="rect">
            <a:avLst/>
          </a:prstGeom>
          <a:noFill/>
        </p:spPr>
        <p:txBody>
          <a:bodyPr wrap="none" rtlCol="0">
            <a:spAutoFit/>
          </a:bodyPr>
          <a:lstStyle/>
          <a:p>
            <a:pPr algn="ctr"/>
            <a:r>
              <a:rPr lang="fr-FR" sz="1600" b="1" spc="300" dirty="0">
                <a:solidFill>
                  <a:schemeClr val="bg1"/>
                </a:solidFill>
                <a:latin typeface="Montserrat" pitchFamily="2" charset="77"/>
              </a:rPr>
              <a:t>Suppression de compte</a:t>
            </a:r>
          </a:p>
          <a:p>
            <a:pPr algn="ctr"/>
            <a:r>
              <a:rPr lang="fr-FR" sz="1600" b="1" spc="300" dirty="0">
                <a:solidFill>
                  <a:schemeClr val="bg1"/>
                </a:solidFill>
                <a:latin typeface="Montserrat" pitchFamily="2" charset="77"/>
              </a:rPr>
              <a:t> sur ordinateur</a:t>
            </a:r>
            <a:endParaRPr lang="en-LT" sz="1600" b="1" spc="300" dirty="0">
              <a:solidFill>
                <a:schemeClr val="bg1"/>
              </a:solidFill>
              <a:latin typeface="Montserrat" pitchFamily="2" charset="77"/>
            </a:endParaRPr>
          </a:p>
        </p:txBody>
      </p:sp>
      <p:sp>
        <p:nvSpPr>
          <p:cNvPr id="53" name="TextBox 52">
            <a:hlinkClick r:id="rId28" action="ppaction://hlinksldjump"/>
            <a:extLst>
              <a:ext uri="{FF2B5EF4-FFF2-40B4-BE49-F238E27FC236}">
                <a16:creationId xmlns:a16="http://schemas.microsoft.com/office/drawing/2014/main" id="{8A54286C-C507-784C-92DE-AC43B04F4310}"/>
              </a:ext>
            </a:extLst>
          </p:cNvPr>
          <p:cNvSpPr txBox="1"/>
          <p:nvPr/>
        </p:nvSpPr>
        <p:spPr>
          <a:xfrm>
            <a:off x="7747610" y="5112898"/>
            <a:ext cx="3610284" cy="400110"/>
          </a:xfrm>
          <a:prstGeom prst="rect">
            <a:avLst/>
          </a:prstGeom>
          <a:noFill/>
        </p:spPr>
        <p:txBody>
          <a:bodyPr wrap="none" rtlCol="0">
            <a:spAutoFit/>
          </a:bodyPr>
          <a:lstStyle/>
          <a:p>
            <a:pPr algn="ctr"/>
            <a:r>
              <a:rPr lang="fr-FR" sz="2000" b="1" spc="300" dirty="0">
                <a:solidFill>
                  <a:schemeClr val="bg1"/>
                </a:solidFill>
                <a:latin typeface="Montserrat" pitchFamily="2" charset="77"/>
              </a:rPr>
              <a:t>Les outils de </a:t>
            </a:r>
            <a:r>
              <a:rPr lang="fr-FR" sz="2000" b="1" spc="300" dirty="0" err="1">
                <a:solidFill>
                  <a:schemeClr val="bg1"/>
                </a:solidFill>
                <a:latin typeface="Montserrat" pitchFamily="2" charset="77"/>
              </a:rPr>
              <a:t>github</a:t>
            </a:r>
            <a:endParaRPr lang="en-LT" sz="2000" b="1" spc="300" dirty="0">
              <a:solidFill>
                <a:schemeClr val="bg1"/>
              </a:solidFill>
              <a:latin typeface="Montserrat" pitchFamily="2" charset="77"/>
            </a:endParaRPr>
          </a:p>
        </p:txBody>
      </p:sp>
      <p:grpSp>
        <p:nvGrpSpPr>
          <p:cNvPr id="55" name="Graphic 43">
            <a:extLst>
              <a:ext uri="{FF2B5EF4-FFF2-40B4-BE49-F238E27FC236}">
                <a16:creationId xmlns:a16="http://schemas.microsoft.com/office/drawing/2014/main" id="{7251C5B3-8865-8648-8E58-BAEDD8F0A253}"/>
              </a:ext>
            </a:extLst>
          </p:cNvPr>
          <p:cNvGrpSpPr/>
          <p:nvPr/>
        </p:nvGrpSpPr>
        <p:grpSpPr>
          <a:xfrm rot="269299" flipV="1">
            <a:off x="7472552" y="2216626"/>
            <a:ext cx="1458826" cy="482830"/>
            <a:chOff x="5270499" y="2952750"/>
            <a:chExt cx="1652160" cy="946643"/>
          </a:xfrm>
          <a:solidFill>
            <a:schemeClr val="bg1"/>
          </a:solidFill>
        </p:grpSpPr>
        <p:sp>
          <p:nvSpPr>
            <p:cNvPr id="56" name="Freeform 55">
              <a:extLst>
                <a:ext uri="{FF2B5EF4-FFF2-40B4-BE49-F238E27FC236}">
                  <a16:creationId xmlns:a16="http://schemas.microsoft.com/office/drawing/2014/main" id="{CE452365-C244-BF4D-A93C-1012104124F4}"/>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57" name="Freeform 56">
              <a:extLst>
                <a:ext uri="{FF2B5EF4-FFF2-40B4-BE49-F238E27FC236}">
                  <a16:creationId xmlns:a16="http://schemas.microsoft.com/office/drawing/2014/main" id="{9431269C-929B-314E-BC39-0CFAAC0D8CF7}"/>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58" name="Graphic 43">
            <a:extLst>
              <a:ext uri="{FF2B5EF4-FFF2-40B4-BE49-F238E27FC236}">
                <a16:creationId xmlns:a16="http://schemas.microsoft.com/office/drawing/2014/main" id="{B84ECF4B-84E3-DF4E-BB6E-F86CFBFD7053}"/>
              </a:ext>
            </a:extLst>
          </p:cNvPr>
          <p:cNvGrpSpPr/>
          <p:nvPr/>
        </p:nvGrpSpPr>
        <p:grpSpPr>
          <a:xfrm rot="2571606" flipV="1">
            <a:off x="7406172" y="4110037"/>
            <a:ext cx="1356455" cy="777212"/>
            <a:chOff x="5270499" y="2952750"/>
            <a:chExt cx="1652160" cy="946643"/>
          </a:xfrm>
          <a:solidFill>
            <a:schemeClr val="bg1"/>
          </a:solidFill>
        </p:grpSpPr>
        <p:sp>
          <p:nvSpPr>
            <p:cNvPr id="59" name="Freeform 58">
              <a:extLst>
                <a:ext uri="{FF2B5EF4-FFF2-40B4-BE49-F238E27FC236}">
                  <a16:creationId xmlns:a16="http://schemas.microsoft.com/office/drawing/2014/main" id="{11D38C79-8A61-2042-9F8F-3234681A1F9B}"/>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0" name="Freeform 59">
              <a:extLst>
                <a:ext uri="{FF2B5EF4-FFF2-40B4-BE49-F238E27FC236}">
                  <a16:creationId xmlns:a16="http://schemas.microsoft.com/office/drawing/2014/main" id="{167C7498-97A4-3C48-B861-751AED3F611E}"/>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1" name="Graphic 43">
            <a:extLst>
              <a:ext uri="{FF2B5EF4-FFF2-40B4-BE49-F238E27FC236}">
                <a16:creationId xmlns:a16="http://schemas.microsoft.com/office/drawing/2014/main" id="{2B524607-E17C-1440-82A6-159F5D5C6EE7}"/>
              </a:ext>
            </a:extLst>
          </p:cNvPr>
          <p:cNvGrpSpPr/>
          <p:nvPr/>
        </p:nvGrpSpPr>
        <p:grpSpPr>
          <a:xfrm rot="417027" flipH="1" flipV="1">
            <a:off x="3858043" y="2373351"/>
            <a:ext cx="1396237" cy="528243"/>
            <a:chOff x="5270499" y="2952750"/>
            <a:chExt cx="1652160" cy="946643"/>
          </a:xfrm>
          <a:solidFill>
            <a:schemeClr val="bg1"/>
          </a:solidFill>
        </p:grpSpPr>
        <p:sp>
          <p:nvSpPr>
            <p:cNvPr id="62" name="Freeform 61">
              <a:extLst>
                <a:ext uri="{FF2B5EF4-FFF2-40B4-BE49-F238E27FC236}">
                  <a16:creationId xmlns:a16="http://schemas.microsoft.com/office/drawing/2014/main" id="{0BC5ED0C-126C-FC43-9F7A-3D62890A2122}"/>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3" name="Freeform 62">
              <a:extLst>
                <a:ext uri="{FF2B5EF4-FFF2-40B4-BE49-F238E27FC236}">
                  <a16:creationId xmlns:a16="http://schemas.microsoft.com/office/drawing/2014/main" id="{D2794B94-D992-BB4E-9C2D-1397A29AC9F1}"/>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4" name="Graphic 43">
            <a:extLst>
              <a:ext uri="{FF2B5EF4-FFF2-40B4-BE49-F238E27FC236}">
                <a16:creationId xmlns:a16="http://schemas.microsoft.com/office/drawing/2014/main" id="{5BAB5CBC-B660-324C-BB51-20FA989BC212}"/>
              </a:ext>
            </a:extLst>
          </p:cNvPr>
          <p:cNvGrpSpPr/>
          <p:nvPr/>
        </p:nvGrpSpPr>
        <p:grpSpPr>
          <a:xfrm rot="19028394" flipH="1" flipV="1">
            <a:off x="4061834" y="4110037"/>
            <a:ext cx="1356455" cy="777212"/>
            <a:chOff x="5270499" y="2952750"/>
            <a:chExt cx="1652160" cy="946643"/>
          </a:xfrm>
          <a:solidFill>
            <a:schemeClr val="bg1"/>
          </a:solidFill>
        </p:grpSpPr>
        <p:sp>
          <p:nvSpPr>
            <p:cNvPr id="65" name="Freeform 64">
              <a:extLst>
                <a:ext uri="{FF2B5EF4-FFF2-40B4-BE49-F238E27FC236}">
                  <a16:creationId xmlns:a16="http://schemas.microsoft.com/office/drawing/2014/main" id="{E9C6A76D-0412-3049-8E6F-E8799387CD7B}"/>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6" name="Freeform 65">
              <a:extLst>
                <a:ext uri="{FF2B5EF4-FFF2-40B4-BE49-F238E27FC236}">
                  <a16:creationId xmlns:a16="http://schemas.microsoft.com/office/drawing/2014/main" id="{8074F27A-A333-E342-B51B-5249EA62599D}"/>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67" name="Graphic 66">
            <a:extLst>
              <a:ext uri="{FF2B5EF4-FFF2-40B4-BE49-F238E27FC236}">
                <a16:creationId xmlns:a16="http://schemas.microsoft.com/office/drawing/2014/main" id="{C133E10E-E8E2-E24B-95CA-FAC2C3B4DF8D}"/>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rot="21540000">
            <a:off x="4238566" y="1166190"/>
            <a:ext cx="4479188" cy="161337"/>
          </a:xfrm>
          <a:prstGeom prst="rect">
            <a:avLst/>
          </a:prstGeom>
        </p:spPr>
      </p:pic>
      <p:grpSp>
        <p:nvGrpSpPr>
          <p:cNvPr id="68" name="!!lamp">
            <a:extLst>
              <a:ext uri="{FF2B5EF4-FFF2-40B4-BE49-F238E27FC236}">
                <a16:creationId xmlns:a16="http://schemas.microsoft.com/office/drawing/2014/main" id="{092E1391-7379-534C-95EA-5FDCFA24946F}"/>
              </a:ext>
            </a:extLst>
          </p:cNvPr>
          <p:cNvGrpSpPr/>
          <p:nvPr/>
        </p:nvGrpSpPr>
        <p:grpSpPr>
          <a:xfrm>
            <a:off x="5383797" y="2504750"/>
            <a:ext cx="1974089" cy="1921526"/>
            <a:chOff x="5105414" y="2463804"/>
            <a:chExt cx="1974089" cy="1921526"/>
          </a:xfrm>
          <a:solidFill>
            <a:schemeClr val="bg1"/>
          </a:solidFill>
        </p:grpSpPr>
        <p:sp>
          <p:nvSpPr>
            <p:cNvPr id="69" name="Freeform 68">
              <a:extLst>
                <a:ext uri="{FF2B5EF4-FFF2-40B4-BE49-F238E27FC236}">
                  <a16:creationId xmlns:a16="http://schemas.microsoft.com/office/drawing/2014/main" id="{FE818357-9A56-3F44-A3F9-1776BADE0B61}"/>
                </a:ext>
              </a:extLst>
            </p:cNvPr>
            <p:cNvSpPr/>
            <p:nvPr/>
          </p:nvSpPr>
          <p:spPr>
            <a:xfrm>
              <a:off x="5249687" y="2612395"/>
              <a:ext cx="1670533" cy="1671185"/>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grpFill/>
            <a:ln w="39496" cap="flat">
              <a:noFill/>
              <a:prstDash val="solid"/>
              <a:round/>
            </a:ln>
          </p:spPr>
          <p:txBody>
            <a:bodyPr rtlCol="0" anchor="ctr"/>
            <a:lstStyle/>
            <a:p>
              <a:endParaRPr lang="en-LT"/>
            </a:p>
          </p:txBody>
        </p:sp>
        <p:sp>
          <p:nvSpPr>
            <p:cNvPr id="70" name="Freeform 69">
              <a:extLst>
                <a:ext uri="{FF2B5EF4-FFF2-40B4-BE49-F238E27FC236}">
                  <a16:creationId xmlns:a16="http://schemas.microsoft.com/office/drawing/2014/main" id="{26CFC472-6F3F-3C42-B894-6D32D8D42C32}"/>
                </a:ext>
              </a:extLst>
            </p:cNvPr>
            <p:cNvSpPr/>
            <p:nvPr/>
          </p:nvSpPr>
          <p:spPr>
            <a:xfrm>
              <a:off x="5616101" y="2976892"/>
              <a:ext cx="975245" cy="969519"/>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grpFill/>
            <a:ln w="39496" cap="flat">
              <a:noFill/>
              <a:prstDash val="solid"/>
              <a:round/>
            </a:ln>
          </p:spPr>
          <p:txBody>
            <a:bodyPr rtlCol="0" anchor="ctr"/>
            <a:lstStyle/>
            <a:p>
              <a:endParaRPr lang="en-LT"/>
            </a:p>
          </p:txBody>
        </p:sp>
        <p:sp>
          <p:nvSpPr>
            <p:cNvPr id="71" name="Freeform 70">
              <a:extLst>
                <a:ext uri="{FF2B5EF4-FFF2-40B4-BE49-F238E27FC236}">
                  <a16:creationId xmlns:a16="http://schemas.microsoft.com/office/drawing/2014/main" id="{ADD6C1C5-2E50-6843-8243-332FC6C94D18}"/>
                </a:ext>
              </a:extLst>
            </p:cNvPr>
            <p:cNvSpPr/>
            <p:nvPr/>
          </p:nvSpPr>
          <p:spPr>
            <a:xfrm>
              <a:off x="5689916" y="3050273"/>
              <a:ext cx="827635" cy="822758"/>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grpFill/>
            <a:ln w="39496" cap="flat">
              <a:noFill/>
              <a:prstDash val="solid"/>
              <a:round/>
            </a:ln>
          </p:spPr>
          <p:txBody>
            <a:bodyPr rtlCol="0" anchor="ctr"/>
            <a:lstStyle/>
            <a:p>
              <a:endParaRPr lang="en-LT"/>
            </a:p>
          </p:txBody>
        </p:sp>
        <p:sp>
          <p:nvSpPr>
            <p:cNvPr id="72" name="Freeform 71">
              <a:extLst>
                <a:ext uri="{FF2B5EF4-FFF2-40B4-BE49-F238E27FC236}">
                  <a16:creationId xmlns:a16="http://schemas.microsoft.com/office/drawing/2014/main" id="{67AC6F4D-5E6A-3D44-A387-F5014D14B480}"/>
                </a:ext>
              </a:extLst>
            </p:cNvPr>
            <p:cNvSpPr/>
            <p:nvPr/>
          </p:nvSpPr>
          <p:spPr>
            <a:xfrm>
              <a:off x="5706218" y="2941915"/>
              <a:ext cx="168034" cy="71169"/>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grpFill/>
            <a:ln w="39496" cap="flat">
              <a:noFill/>
              <a:prstDash val="solid"/>
              <a:round/>
            </a:ln>
          </p:spPr>
          <p:txBody>
            <a:bodyPr rtlCol="0" anchor="ctr"/>
            <a:lstStyle/>
            <a:p>
              <a:endParaRPr lang="en-LT"/>
            </a:p>
          </p:txBody>
        </p:sp>
        <p:sp>
          <p:nvSpPr>
            <p:cNvPr id="73" name="Freeform 72">
              <a:extLst>
                <a:ext uri="{FF2B5EF4-FFF2-40B4-BE49-F238E27FC236}">
                  <a16:creationId xmlns:a16="http://schemas.microsoft.com/office/drawing/2014/main" id="{25D0E7E3-A59A-0246-B1D4-BB9481E0DF4F}"/>
                </a:ext>
              </a:extLst>
            </p:cNvPr>
            <p:cNvSpPr/>
            <p:nvPr/>
          </p:nvSpPr>
          <p:spPr>
            <a:xfrm>
              <a:off x="5521442" y="3178159"/>
              <a:ext cx="86704" cy="186436"/>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grpFill/>
            <a:ln w="39496" cap="flat">
              <a:noFill/>
              <a:prstDash val="solid"/>
              <a:round/>
            </a:ln>
          </p:spPr>
          <p:txBody>
            <a:bodyPr rtlCol="0" anchor="ctr"/>
            <a:lstStyle/>
            <a:p>
              <a:endParaRPr lang="en-LT"/>
            </a:p>
          </p:txBody>
        </p:sp>
        <p:sp>
          <p:nvSpPr>
            <p:cNvPr id="74" name="Freeform 73">
              <a:extLst>
                <a:ext uri="{FF2B5EF4-FFF2-40B4-BE49-F238E27FC236}">
                  <a16:creationId xmlns:a16="http://schemas.microsoft.com/office/drawing/2014/main" id="{9A4B02A9-A7BC-8041-90F7-5FD719B2307C}"/>
                </a:ext>
              </a:extLst>
            </p:cNvPr>
            <p:cNvSpPr/>
            <p:nvPr/>
          </p:nvSpPr>
          <p:spPr>
            <a:xfrm>
              <a:off x="5518046" y="3517223"/>
              <a:ext cx="96344" cy="179381"/>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grpFill/>
            <a:ln w="39496" cap="flat">
              <a:noFill/>
              <a:prstDash val="solid"/>
              <a:round/>
            </a:ln>
          </p:spPr>
          <p:txBody>
            <a:bodyPr rtlCol="0" anchor="ctr"/>
            <a:lstStyle/>
            <a:p>
              <a:endParaRPr lang="en-LT"/>
            </a:p>
          </p:txBody>
        </p:sp>
        <p:sp>
          <p:nvSpPr>
            <p:cNvPr id="75" name="Freeform 74">
              <a:extLst>
                <a:ext uri="{FF2B5EF4-FFF2-40B4-BE49-F238E27FC236}">
                  <a16:creationId xmlns:a16="http://schemas.microsoft.com/office/drawing/2014/main" id="{03986B33-457D-CB48-9EE9-82663E31C3D3}"/>
                </a:ext>
              </a:extLst>
            </p:cNvPr>
            <p:cNvSpPr/>
            <p:nvPr/>
          </p:nvSpPr>
          <p:spPr>
            <a:xfrm>
              <a:off x="6072764" y="3971107"/>
              <a:ext cx="164088" cy="46892"/>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grpFill/>
            <a:ln w="39496" cap="flat">
              <a:noFill/>
              <a:prstDash val="solid"/>
              <a:round/>
            </a:ln>
          </p:spPr>
          <p:txBody>
            <a:bodyPr rtlCol="0" anchor="ctr"/>
            <a:lstStyle/>
            <a:p>
              <a:endParaRPr lang="en-LT"/>
            </a:p>
          </p:txBody>
        </p:sp>
        <p:sp>
          <p:nvSpPr>
            <p:cNvPr id="76" name="Freeform 75">
              <a:extLst>
                <a:ext uri="{FF2B5EF4-FFF2-40B4-BE49-F238E27FC236}">
                  <a16:creationId xmlns:a16="http://schemas.microsoft.com/office/drawing/2014/main" id="{EDEB4064-CD57-EB48-92E1-C43206E8659E}"/>
                </a:ext>
              </a:extLst>
            </p:cNvPr>
            <p:cNvSpPr/>
            <p:nvPr/>
          </p:nvSpPr>
          <p:spPr>
            <a:xfrm>
              <a:off x="6447251" y="3744094"/>
              <a:ext cx="116123" cy="129191"/>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grpFill/>
            <a:ln w="39496" cap="flat">
              <a:noFill/>
              <a:prstDash val="solid"/>
              <a:round/>
            </a:ln>
          </p:spPr>
          <p:txBody>
            <a:bodyPr rtlCol="0" anchor="ctr"/>
            <a:lstStyle/>
            <a:p>
              <a:endParaRPr lang="en-LT"/>
            </a:p>
          </p:txBody>
        </p:sp>
        <p:sp>
          <p:nvSpPr>
            <p:cNvPr id="77" name="Freeform 76">
              <a:extLst>
                <a:ext uri="{FF2B5EF4-FFF2-40B4-BE49-F238E27FC236}">
                  <a16:creationId xmlns:a16="http://schemas.microsoft.com/office/drawing/2014/main" id="{4066E511-DCD2-7541-A8DF-97991A66EF67}"/>
                </a:ext>
              </a:extLst>
            </p:cNvPr>
            <p:cNvSpPr/>
            <p:nvPr/>
          </p:nvSpPr>
          <p:spPr>
            <a:xfrm>
              <a:off x="6624167" y="3321131"/>
              <a:ext cx="43608" cy="170742"/>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grpFill/>
            <a:ln w="39496" cap="flat">
              <a:noFill/>
              <a:prstDash val="solid"/>
              <a:round/>
            </a:ln>
          </p:spPr>
          <p:txBody>
            <a:bodyPr rtlCol="0" anchor="ctr"/>
            <a:lstStyle/>
            <a:p>
              <a:endParaRPr lang="en-LT"/>
            </a:p>
          </p:txBody>
        </p:sp>
        <p:sp>
          <p:nvSpPr>
            <p:cNvPr id="78" name="Freeform 77">
              <a:extLst>
                <a:ext uri="{FF2B5EF4-FFF2-40B4-BE49-F238E27FC236}">
                  <a16:creationId xmlns:a16="http://schemas.microsoft.com/office/drawing/2014/main" id="{69AC4242-71E5-AF4A-A82A-80CC44D65541}"/>
                </a:ext>
              </a:extLst>
            </p:cNvPr>
            <p:cNvSpPr/>
            <p:nvPr/>
          </p:nvSpPr>
          <p:spPr>
            <a:xfrm>
              <a:off x="6474472" y="2957657"/>
              <a:ext cx="113655" cy="199120"/>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grpFill/>
            <a:ln w="39496" cap="flat">
              <a:noFill/>
              <a:prstDash val="solid"/>
              <a:round/>
            </a:ln>
          </p:spPr>
          <p:txBody>
            <a:bodyPr rtlCol="0" anchor="ctr"/>
            <a:lstStyle/>
            <a:p>
              <a:endParaRPr lang="en-LT"/>
            </a:p>
          </p:txBody>
        </p:sp>
        <p:sp>
          <p:nvSpPr>
            <p:cNvPr id="79" name="Freeform 78">
              <a:extLst>
                <a:ext uri="{FF2B5EF4-FFF2-40B4-BE49-F238E27FC236}">
                  <a16:creationId xmlns:a16="http://schemas.microsoft.com/office/drawing/2014/main" id="{18D4FC26-DE5B-6C42-BB98-A5F68A0B4E50}"/>
                </a:ext>
              </a:extLst>
            </p:cNvPr>
            <p:cNvSpPr/>
            <p:nvPr/>
          </p:nvSpPr>
          <p:spPr>
            <a:xfrm>
              <a:off x="6081883" y="2855132"/>
              <a:ext cx="273626" cy="64400"/>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grpFill/>
            <a:ln w="39496" cap="flat">
              <a:noFill/>
              <a:prstDash val="solid"/>
              <a:round/>
            </a:ln>
          </p:spPr>
          <p:txBody>
            <a:bodyPr rtlCol="0" anchor="ctr"/>
            <a:lstStyle/>
            <a:p>
              <a:endParaRPr lang="en-LT"/>
            </a:p>
          </p:txBody>
        </p:sp>
        <p:sp>
          <p:nvSpPr>
            <p:cNvPr id="80" name="Freeform 79">
              <a:extLst>
                <a:ext uri="{FF2B5EF4-FFF2-40B4-BE49-F238E27FC236}">
                  <a16:creationId xmlns:a16="http://schemas.microsoft.com/office/drawing/2014/main" id="{46E6C581-5BDC-D245-AEEC-8C65FB554BDA}"/>
                </a:ext>
              </a:extLst>
            </p:cNvPr>
            <p:cNvSpPr/>
            <p:nvPr/>
          </p:nvSpPr>
          <p:spPr>
            <a:xfrm>
              <a:off x="5439928" y="2463804"/>
              <a:ext cx="731910" cy="287111"/>
            </a:xfrm>
            <a:custGeom>
              <a:avLst/>
              <a:gdLst>
                <a:gd name="connsiteX0" fmla="*/ 20142 w 731910"/>
                <a:gd name="connsiteY0" fmla="*/ 283307 h 287111"/>
                <a:gd name="connsiteX1" fmla="*/ 643573 w 731910"/>
                <a:gd name="connsiteY1" fmla="*/ 58331 h 287111"/>
                <a:gd name="connsiteX2" fmla="*/ 558890 w 731910"/>
                <a:gd name="connsiteY2" fmla="*/ 65622 h 287111"/>
                <a:gd name="connsiteX3" fmla="*/ 558890 w 731910"/>
                <a:gd name="connsiteY3" fmla="*/ 89593 h 287111"/>
                <a:gd name="connsiteX4" fmla="*/ 717710 w 731910"/>
                <a:gd name="connsiteY4" fmla="*/ 75963 h 287111"/>
                <a:gd name="connsiteX5" fmla="*/ 729243 w 731910"/>
                <a:gd name="connsiteY5" fmla="*/ 65384 h 287111"/>
                <a:gd name="connsiteX6" fmla="*/ 723161 w 731910"/>
                <a:gd name="connsiteY6" fmla="*/ 47118 h 287111"/>
                <a:gd name="connsiteX7" fmla="*/ 685875 w 731910"/>
                <a:gd name="connsiteY7" fmla="*/ 40144 h 287111"/>
                <a:gd name="connsiteX8" fmla="*/ 572596 w 731910"/>
                <a:gd name="connsiteY8" fmla="*/ 601 h 287111"/>
                <a:gd name="connsiteX9" fmla="*/ 566237 w 731910"/>
                <a:gd name="connsiteY9" fmla="*/ 23701 h 287111"/>
                <a:gd name="connsiteX10" fmla="*/ 583853 w 731910"/>
                <a:gd name="connsiteY10" fmla="*/ 29883 h 287111"/>
                <a:gd name="connsiteX11" fmla="*/ 3198 w 731910"/>
                <a:gd name="connsiteY11" fmla="*/ 266349 h 287111"/>
                <a:gd name="connsiteX12" fmla="*/ 20142 w 731910"/>
                <a:gd name="connsiteY12" fmla="*/ 283307 h 2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910" h="287111">
                  <a:moveTo>
                    <a:pt x="20142" y="283307"/>
                  </a:moveTo>
                  <a:cubicBezTo>
                    <a:pt x="180977" y="114516"/>
                    <a:pt x="414211" y="31745"/>
                    <a:pt x="643573" y="58331"/>
                  </a:cubicBezTo>
                  <a:cubicBezTo>
                    <a:pt x="615332" y="60748"/>
                    <a:pt x="587091" y="63205"/>
                    <a:pt x="558890" y="65622"/>
                  </a:cubicBezTo>
                  <a:cubicBezTo>
                    <a:pt x="543683" y="66930"/>
                    <a:pt x="543526" y="90941"/>
                    <a:pt x="558890" y="89593"/>
                  </a:cubicBezTo>
                  <a:cubicBezTo>
                    <a:pt x="611817" y="85037"/>
                    <a:pt x="664784" y="80480"/>
                    <a:pt x="717710" y="75963"/>
                  </a:cubicBezTo>
                  <a:cubicBezTo>
                    <a:pt x="724464" y="75369"/>
                    <a:pt x="728532" y="70575"/>
                    <a:pt x="729243" y="65384"/>
                  </a:cubicBezTo>
                  <a:cubicBezTo>
                    <a:pt x="733589" y="59124"/>
                    <a:pt x="732640" y="49218"/>
                    <a:pt x="723161" y="47118"/>
                  </a:cubicBezTo>
                  <a:cubicBezTo>
                    <a:pt x="710759" y="44384"/>
                    <a:pt x="698357" y="42284"/>
                    <a:pt x="685875" y="40144"/>
                  </a:cubicBezTo>
                  <a:cubicBezTo>
                    <a:pt x="648116" y="26951"/>
                    <a:pt x="610355" y="13756"/>
                    <a:pt x="572596" y="601"/>
                  </a:cubicBezTo>
                  <a:cubicBezTo>
                    <a:pt x="558021" y="-4510"/>
                    <a:pt x="551741" y="18669"/>
                    <a:pt x="566237" y="23701"/>
                  </a:cubicBezTo>
                  <a:cubicBezTo>
                    <a:pt x="572122" y="25762"/>
                    <a:pt x="577968" y="27822"/>
                    <a:pt x="583853" y="29883"/>
                  </a:cubicBezTo>
                  <a:cubicBezTo>
                    <a:pt x="368116" y="22949"/>
                    <a:pt x="154592" y="107503"/>
                    <a:pt x="3198" y="266349"/>
                  </a:cubicBezTo>
                  <a:cubicBezTo>
                    <a:pt x="-7427" y="277523"/>
                    <a:pt x="9438" y="294521"/>
                    <a:pt x="20142" y="283307"/>
                  </a:cubicBezTo>
                  <a:close/>
                </a:path>
              </a:pathLst>
            </a:custGeom>
            <a:grpFill/>
            <a:ln w="39496" cap="flat">
              <a:noFill/>
              <a:prstDash val="solid"/>
              <a:round/>
            </a:ln>
          </p:spPr>
          <p:txBody>
            <a:bodyPr rtlCol="0" anchor="ctr"/>
            <a:lstStyle/>
            <a:p>
              <a:endParaRPr lang="en-LT"/>
            </a:p>
          </p:txBody>
        </p:sp>
        <p:sp>
          <p:nvSpPr>
            <p:cNvPr id="81" name="Freeform 80">
              <a:extLst>
                <a:ext uri="{FF2B5EF4-FFF2-40B4-BE49-F238E27FC236}">
                  <a16:creationId xmlns:a16="http://schemas.microsoft.com/office/drawing/2014/main" id="{1C45416D-DB64-244E-8073-9AA2FF4CC1F9}"/>
                </a:ext>
              </a:extLst>
            </p:cNvPr>
            <p:cNvSpPr/>
            <p:nvPr/>
          </p:nvSpPr>
          <p:spPr>
            <a:xfrm>
              <a:off x="6744737" y="2707302"/>
              <a:ext cx="334766" cy="760380"/>
            </a:xfrm>
            <a:custGeom>
              <a:avLst/>
              <a:gdLst>
                <a:gd name="connsiteX0" fmla="*/ 20779 w 334766"/>
                <a:gd name="connsiteY0" fmla="*/ 2998 h 760380"/>
                <a:gd name="connsiteX1" fmla="*/ 3834 w 334766"/>
                <a:gd name="connsiteY1" fmla="*/ 19957 h 760380"/>
                <a:gd name="connsiteX2" fmla="*/ 267482 w 334766"/>
                <a:gd name="connsiteY2" fmla="*/ 661681 h 760380"/>
                <a:gd name="connsiteX3" fmla="*/ 259582 w 334766"/>
                <a:gd name="connsiteY3" fmla="*/ 573679 h 760380"/>
                <a:gd name="connsiteX4" fmla="*/ 235647 w 334766"/>
                <a:gd name="connsiteY4" fmla="*/ 573679 h 760380"/>
                <a:gd name="connsiteX5" fmla="*/ 251327 w 334766"/>
                <a:gd name="connsiteY5" fmla="*/ 748097 h 760380"/>
                <a:gd name="connsiteX6" fmla="*/ 273604 w 334766"/>
                <a:gd name="connsiteY6" fmla="*/ 754159 h 760380"/>
                <a:gd name="connsiteX7" fmla="*/ 333561 w 334766"/>
                <a:gd name="connsiteY7" fmla="*/ 617224 h 760380"/>
                <a:gd name="connsiteX8" fmla="*/ 312864 w 334766"/>
                <a:gd name="connsiteY8" fmla="*/ 605139 h 760380"/>
                <a:gd name="connsiteX9" fmla="*/ 291417 w 334766"/>
                <a:gd name="connsiteY9" fmla="*/ 654112 h 760380"/>
                <a:gd name="connsiteX10" fmla="*/ 20779 w 334766"/>
                <a:gd name="connsiteY10" fmla="*/ 2998 h 76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766" h="760380">
                  <a:moveTo>
                    <a:pt x="20779" y="2998"/>
                  </a:moveTo>
                  <a:cubicBezTo>
                    <a:pt x="9167" y="-7066"/>
                    <a:pt x="-7857" y="9814"/>
                    <a:pt x="3834" y="19957"/>
                  </a:cubicBezTo>
                  <a:cubicBezTo>
                    <a:pt x="187735" y="179476"/>
                    <a:pt x="286243" y="420024"/>
                    <a:pt x="267482" y="661681"/>
                  </a:cubicBezTo>
                  <a:cubicBezTo>
                    <a:pt x="264835" y="632360"/>
                    <a:pt x="262229" y="603040"/>
                    <a:pt x="259582" y="573679"/>
                  </a:cubicBezTo>
                  <a:cubicBezTo>
                    <a:pt x="258199" y="558425"/>
                    <a:pt x="234264" y="558305"/>
                    <a:pt x="235647" y="573679"/>
                  </a:cubicBezTo>
                  <a:cubicBezTo>
                    <a:pt x="240860" y="631845"/>
                    <a:pt x="246113" y="689971"/>
                    <a:pt x="251327" y="748097"/>
                  </a:cubicBezTo>
                  <a:cubicBezTo>
                    <a:pt x="252235" y="758518"/>
                    <a:pt x="268351" y="766204"/>
                    <a:pt x="273604" y="754159"/>
                  </a:cubicBezTo>
                  <a:cubicBezTo>
                    <a:pt x="293589" y="708514"/>
                    <a:pt x="313575" y="662869"/>
                    <a:pt x="333561" y="617224"/>
                  </a:cubicBezTo>
                  <a:cubicBezTo>
                    <a:pt x="339644" y="603237"/>
                    <a:pt x="319066" y="590994"/>
                    <a:pt x="312864" y="605139"/>
                  </a:cubicBezTo>
                  <a:cubicBezTo>
                    <a:pt x="305715" y="621464"/>
                    <a:pt x="298566" y="637788"/>
                    <a:pt x="291417" y="654112"/>
                  </a:cubicBezTo>
                  <a:cubicBezTo>
                    <a:pt x="306940" y="408691"/>
                    <a:pt x="208037" y="165450"/>
                    <a:pt x="20779" y="2998"/>
                  </a:cubicBezTo>
                  <a:close/>
                </a:path>
              </a:pathLst>
            </a:custGeom>
            <a:grpFill/>
            <a:ln w="39496" cap="flat">
              <a:noFill/>
              <a:prstDash val="solid"/>
              <a:round/>
            </a:ln>
          </p:spPr>
          <p:txBody>
            <a:bodyPr rtlCol="0" anchor="ctr"/>
            <a:lstStyle/>
            <a:p>
              <a:endParaRPr lang="en-LT"/>
            </a:p>
          </p:txBody>
        </p:sp>
        <p:sp>
          <p:nvSpPr>
            <p:cNvPr id="82" name="Freeform 81">
              <a:extLst>
                <a:ext uri="{FF2B5EF4-FFF2-40B4-BE49-F238E27FC236}">
                  <a16:creationId xmlns:a16="http://schemas.microsoft.com/office/drawing/2014/main" id="{1AD1E513-86D6-5E4E-83FD-6C758EACE6D2}"/>
                </a:ext>
              </a:extLst>
            </p:cNvPr>
            <p:cNvSpPr/>
            <p:nvPr/>
          </p:nvSpPr>
          <p:spPr>
            <a:xfrm>
              <a:off x="6131722" y="3965370"/>
              <a:ext cx="766105" cy="419960"/>
            </a:xfrm>
            <a:custGeom>
              <a:avLst/>
              <a:gdLst>
                <a:gd name="connsiteX0" fmla="*/ 764026 w 766105"/>
                <a:gd name="connsiteY0" fmla="*/ 17648 h 419960"/>
                <a:gd name="connsiteX1" fmla="*/ 743329 w 766105"/>
                <a:gd name="connsiteY1" fmla="*/ 5564 h 419960"/>
                <a:gd name="connsiteX2" fmla="*/ 129733 w 766105"/>
                <a:gd name="connsiteY2" fmla="*/ 372586 h 419960"/>
                <a:gd name="connsiteX3" fmla="*/ 212638 w 766105"/>
                <a:gd name="connsiteY3" fmla="*/ 350040 h 419960"/>
                <a:gd name="connsiteX4" fmla="*/ 206280 w 766105"/>
                <a:gd name="connsiteY4" fmla="*/ 326940 h 419960"/>
                <a:gd name="connsiteX5" fmla="*/ 31818 w 766105"/>
                <a:gd name="connsiteY5" fmla="*/ 374329 h 419960"/>
                <a:gd name="connsiteX6" fmla="*/ 11280 w 766105"/>
                <a:gd name="connsiteY6" fmla="*/ 373576 h 419960"/>
                <a:gd name="connsiteX7" fmla="*/ 8001 w 766105"/>
                <a:gd name="connsiteY7" fmla="*/ 396676 h 419960"/>
                <a:gd name="connsiteX8" fmla="*/ 16928 w 766105"/>
                <a:gd name="connsiteY8" fmla="*/ 401826 h 419960"/>
                <a:gd name="connsiteX9" fmla="*/ 214416 w 766105"/>
                <a:gd name="connsiteY9" fmla="*/ 419895 h 419960"/>
                <a:gd name="connsiteX10" fmla="*/ 214416 w 766105"/>
                <a:gd name="connsiteY10" fmla="*/ 395923 h 419960"/>
                <a:gd name="connsiteX11" fmla="*/ 173773 w 766105"/>
                <a:gd name="connsiteY11" fmla="*/ 392198 h 419960"/>
                <a:gd name="connsiteX12" fmla="*/ 764026 w 766105"/>
                <a:gd name="connsiteY12" fmla="*/ 17648 h 41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6105" h="419960">
                  <a:moveTo>
                    <a:pt x="764026" y="17648"/>
                  </a:moveTo>
                  <a:cubicBezTo>
                    <a:pt x="772399" y="4613"/>
                    <a:pt x="751663" y="-7393"/>
                    <a:pt x="743329" y="5564"/>
                  </a:cubicBezTo>
                  <a:cubicBezTo>
                    <a:pt x="607812" y="217384"/>
                    <a:pt x="376910" y="352378"/>
                    <a:pt x="129733" y="372586"/>
                  </a:cubicBezTo>
                  <a:cubicBezTo>
                    <a:pt x="157342" y="365057"/>
                    <a:pt x="184991" y="357569"/>
                    <a:pt x="212638" y="350040"/>
                  </a:cubicBezTo>
                  <a:cubicBezTo>
                    <a:pt x="227490" y="346039"/>
                    <a:pt x="221131" y="322899"/>
                    <a:pt x="206280" y="326940"/>
                  </a:cubicBezTo>
                  <a:cubicBezTo>
                    <a:pt x="148099" y="342710"/>
                    <a:pt x="89919" y="358519"/>
                    <a:pt x="31818" y="374329"/>
                  </a:cubicBezTo>
                  <a:cubicBezTo>
                    <a:pt x="24946" y="374012"/>
                    <a:pt x="18153" y="374091"/>
                    <a:pt x="11280" y="373576"/>
                  </a:cubicBezTo>
                  <a:cubicBezTo>
                    <a:pt x="-2821" y="372625"/>
                    <a:pt x="-3768" y="392555"/>
                    <a:pt x="8001" y="396676"/>
                  </a:cubicBezTo>
                  <a:cubicBezTo>
                    <a:pt x="9897" y="399410"/>
                    <a:pt x="12820" y="401470"/>
                    <a:pt x="16928" y="401826"/>
                  </a:cubicBezTo>
                  <a:lnTo>
                    <a:pt x="214416" y="419895"/>
                  </a:lnTo>
                  <a:cubicBezTo>
                    <a:pt x="229741" y="421321"/>
                    <a:pt x="229623" y="397310"/>
                    <a:pt x="214416" y="395923"/>
                  </a:cubicBezTo>
                  <a:lnTo>
                    <a:pt x="173773" y="392198"/>
                  </a:lnTo>
                  <a:cubicBezTo>
                    <a:pt x="412536" y="360302"/>
                    <a:pt x="632183" y="223684"/>
                    <a:pt x="764026" y="17648"/>
                  </a:cubicBezTo>
                  <a:close/>
                </a:path>
              </a:pathLst>
            </a:custGeom>
            <a:grpFill/>
            <a:ln w="39496" cap="flat">
              <a:noFill/>
              <a:prstDash val="solid"/>
              <a:round/>
            </a:ln>
          </p:spPr>
          <p:txBody>
            <a:bodyPr rtlCol="0" anchor="ctr"/>
            <a:lstStyle/>
            <a:p>
              <a:endParaRPr lang="en-LT"/>
            </a:p>
          </p:txBody>
        </p:sp>
        <p:sp>
          <p:nvSpPr>
            <p:cNvPr id="83" name="Freeform 82">
              <a:extLst>
                <a:ext uri="{FF2B5EF4-FFF2-40B4-BE49-F238E27FC236}">
                  <a16:creationId xmlns:a16="http://schemas.microsoft.com/office/drawing/2014/main" id="{8FCAF749-AAEA-2046-BBB9-6FE8BC81879D}"/>
                </a:ext>
              </a:extLst>
            </p:cNvPr>
            <p:cNvSpPr/>
            <p:nvPr/>
          </p:nvSpPr>
          <p:spPr>
            <a:xfrm>
              <a:off x="5105414" y="3252016"/>
              <a:ext cx="583865" cy="1093705"/>
            </a:xfrm>
            <a:custGeom>
              <a:avLst/>
              <a:gdLst>
                <a:gd name="connsiteX0" fmla="*/ 94847 w 583865"/>
                <a:gd name="connsiteY0" fmla="*/ 238467 h 1093705"/>
                <a:gd name="connsiteX1" fmla="*/ 106222 w 583865"/>
                <a:gd name="connsiteY1" fmla="*/ 11430 h 1093705"/>
                <a:gd name="connsiteX2" fmla="*/ 82682 w 583865"/>
                <a:gd name="connsiteY2" fmla="*/ 8221 h 1093705"/>
                <a:gd name="connsiteX3" fmla="*/ 79680 w 583865"/>
                <a:gd name="connsiteY3" fmla="*/ 15512 h 1093705"/>
                <a:gd name="connsiteX4" fmla="*/ 71662 w 583865"/>
                <a:gd name="connsiteY4" fmla="*/ 23475 h 1093705"/>
                <a:gd name="connsiteX5" fmla="*/ 64750 w 583865"/>
                <a:gd name="connsiteY5" fmla="*/ 51885 h 1093705"/>
                <a:gd name="connsiteX6" fmla="*/ 725 w 583865"/>
                <a:gd name="connsiteY6" fmla="*/ 207561 h 1093705"/>
                <a:gd name="connsiteX7" fmla="*/ 23791 w 583865"/>
                <a:gd name="connsiteY7" fmla="*/ 213940 h 1093705"/>
                <a:gd name="connsiteX8" fmla="*/ 46186 w 583865"/>
                <a:gd name="connsiteY8" fmla="*/ 159459 h 1093705"/>
                <a:gd name="connsiteX9" fmla="*/ 565422 w 583865"/>
                <a:gd name="connsiteY9" fmla="*/ 1092408 h 1093705"/>
                <a:gd name="connsiteX10" fmla="*/ 577509 w 583865"/>
                <a:gd name="connsiteY10" fmla="*/ 1071725 h 1093705"/>
                <a:gd name="connsiteX11" fmla="*/ 77389 w 583865"/>
                <a:gd name="connsiteY11" fmla="*/ 108545 h 1093705"/>
                <a:gd name="connsiteX12" fmla="*/ 70912 w 583865"/>
                <a:gd name="connsiteY12" fmla="*/ 238467 h 1093705"/>
                <a:gd name="connsiteX13" fmla="*/ 94847 w 583865"/>
                <a:gd name="connsiteY13" fmla="*/ 238467 h 109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3865" h="1093705">
                  <a:moveTo>
                    <a:pt x="94847" y="238467"/>
                  </a:moveTo>
                  <a:cubicBezTo>
                    <a:pt x="98639" y="162788"/>
                    <a:pt x="102431" y="87109"/>
                    <a:pt x="106222" y="11430"/>
                  </a:cubicBezTo>
                  <a:cubicBezTo>
                    <a:pt x="106894" y="-3230"/>
                    <a:pt x="87422" y="-3309"/>
                    <a:pt x="82682" y="8221"/>
                  </a:cubicBezTo>
                  <a:cubicBezTo>
                    <a:pt x="81695" y="10677"/>
                    <a:pt x="80668" y="13094"/>
                    <a:pt x="79680" y="15512"/>
                  </a:cubicBezTo>
                  <a:cubicBezTo>
                    <a:pt x="76086" y="16383"/>
                    <a:pt x="72926" y="18761"/>
                    <a:pt x="71662" y="23475"/>
                  </a:cubicBezTo>
                  <a:cubicBezTo>
                    <a:pt x="69134" y="32906"/>
                    <a:pt x="66962" y="42415"/>
                    <a:pt x="64750" y="51885"/>
                  </a:cubicBezTo>
                  <a:cubicBezTo>
                    <a:pt x="43382" y="103750"/>
                    <a:pt x="22053" y="155695"/>
                    <a:pt x="725" y="207561"/>
                  </a:cubicBezTo>
                  <a:cubicBezTo>
                    <a:pt x="-5121" y="221825"/>
                    <a:pt x="17985" y="228046"/>
                    <a:pt x="23791" y="213940"/>
                  </a:cubicBezTo>
                  <a:lnTo>
                    <a:pt x="46186" y="159459"/>
                  </a:lnTo>
                  <a:cubicBezTo>
                    <a:pt x="3134" y="544351"/>
                    <a:pt x="206863" y="923339"/>
                    <a:pt x="565422" y="1092408"/>
                  </a:cubicBezTo>
                  <a:cubicBezTo>
                    <a:pt x="579247" y="1098945"/>
                    <a:pt x="591412" y="1078302"/>
                    <a:pt x="577509" y="1071725"/>
                  </a:cubicBezTo>
                  <a:cubicBezTo>
                    <a:pt x="210615" y="898694"/>
                    <a:pt x="8822" y="502708"/>
                    <a:pt x="77389" y="108545"/>
                  </a:cubicBezTo>
                  <a:cubicBezTo>
                    <a:pt x="75256" y="151852"/>
                    <a:pt x="73084" y="195159"/>
                    <a:pt x="70912" y="238467"/>
                  </a:cubicBezTo>
                  <a:cubicBezTo>
                    <a:pt x="70161" y="253879"/>
                    <a:pt x="94097" y="253840"/>
                    <a:pt x="94847" y="238467"/>
                  </a:cubicBezTo>
                  <a:close/>
                </a:path>
              </a:pathLst>
            </a:custGeom>
            <a:grpFill/>
            <a:ln w="39496" cap="flat">
              <a:noFill/>
              <a:prstDash val="solid"/>
              <a:round/>
            </a:ln>
          </p:spPr>
          <p:txBody>
            <a:bodyPr rtlCol="0" anchor="ctr"/>
            <a:lstStyle/>
            <a:p>
              <a:endParaRPr lang="en-LT"/>
            </a:p>
          </p:txBody>
        </p:sp>
        <p:sp>
          <p:nvSpPr>
            <p:cNvPr id="84" name="Freeform 83">
              <a:extLst>
                <a:ext uri="{FF2B5EF4-FFF2-40B4-BE49-F238E27FC236}">
                  <a16:creationId xmlns:a16="http://schemas.microsoft.com/office/drawing/2014/main" id="{8F091EF5-1C76-194B-A3E5-0B36A3B4125B}"/>
                </a:ext>
              </a:extLst>
            </p:cNvPr>
            <p:cNvSpPr/>
            <p:nvPr/>
          </p:nvSpPr>
          <p:spPr>
            <a:xfrm>
              <a:off x="5651842" y="3100193"/>
              <a:ext cx="166093" cy="687570"/>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grpFill/>
            <a:ln w="39496" cap="flat">
              <a:noFill/>
              <a:prstDash val="solid"/>
              <a:round/>
            </a:ln>
          </p:spPr>
          <p:txBody>
            <a:bodyPr rtlCol="0" anchor="ctr"/>
            <a:lstStyle/>
            <a:p>
              <a:endParaRPr lang="en-LT"/>
            </a:p>
          </p:txBody>
        </p:sp>
        <p:sp>
          <p:nvSpPr>
            <p:cNvPr id="85" name="Freeform 84">
              <a:extLst>
                <a:ext uri="{FF2B5EF4-FFF2-40B4-BE49-F238E27FC236}">
                  <a16:creationId xmlns:a16="http://schemas.microsoft.com/office/drawing/2014/main" id="{DC968A35-5BFD-1843-AE11-51855A7E1B8D}"/>
                </a:ext>
              </a:extLst>
            </p:cNvPr>
            <p:cNvSpPr/>
            <p:nvPr/>
          </p:nvSpPr>
          <p:spPr>
            <a:xfrm>
              <a:off x="6125303" y="3394511"/>
              <a:ext cx="427598" cy="516160"/>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grpFill/>
            <a:ln w="39496" cap="flat">
              <a:noFill/>
              <a:prstDash val="solid"/>
              <a:round/>
            </a:ln>
          </p:spPr>
          <p:txBody>
            <a:bodyPr rtlCol="0" anchor="ctr"/>
            <a:lstStyle/>
            <a:p>
              <a:endParaRPr lang="en-LT"/>
            </a:p>
          </p:txBody>
        </p:sp>
      </p:grpSp>
      <p:grpSp>
        <p:nvGrpSpPr>
          <p:cNvPr id="86" name="Group 85">
            <a:extLst>
              <a:ext uri="{FF2B5EF4-FFF2-40B4-BE49-F238E27FC236}">
                <a16:creationId xmlns:a16="http://schemas.microsoft.com/office/drawing/2014/main" id="{0C407B14-2C30-4442-97EC-F5454CAA04AF}"/>
              </a:ext>
            </a:extLst>
          </p:cNvPr>
          <p:cNvGrpSpPr/>
          <p:nvPr/>
        </p:nvGrpSpPr>
        <p:grpSpPr>
          <a:xfrm>
            <a:off x="9097952" y="1550321"/>
            <a:ext cx="901492" cy="901844"/>
            <a:chOff x="9097952" y="1550321"/>
            <a:chExt cx="901492" cy="901844"/>
          </a:xfrm>
        </p:grpSpPr>
        <p:sp>
          <p:nvSpPr>
            <p:cNvPr id="87" name="Freeform 86">
              <a:extLst>
                <a:ext uri="{FF2B5EF4-FFF2-40B4-BE49-F238E27FC236}">
                  <a16:creationId xmlns:a16="http://schemas.microsoft.com/office/drawing/2014/main" id="{96C61E91-B372-F442-B078-4FDBC790BDF7}"/>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88" name="Freeform 87">
              <a:extLst>
                <a:ext uri="{FF2B5EF4-FFF2-40B4-BE49-F238E27FC236}">
                  <a16:creationId xmlns:a16="http://schemas.microsoft.com/office/drawing/2014/main" id="{B13F24DF-055F-4B43-9064-389A61DC0D7F}"/>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89" name="Freeform 88">
              <a:extLst>
                <a:ext uri="{FF2B5EF4-FFF2-40B4-BE49-F238E27FC236}">
                  <a16:creationId xmlns:a16="http://schemas.microsoft.com/office/drawing/2014/main" id="{9E143AE6-99CB-C94F-BE72-5F79D7989256}"/>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90" name="Freeform 89">
              <a:extLst>
                <a:ext uri="{FF2B5EF4-FFF2-40B4-BE49-F238E27FC236}">
                  <a16:creationId xmlns:a16="http://schemas.microsoft.com/office/drawing/2014/main" id="{01A92291-8065-B842-BC04-38D2A5696D03}"/>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1CCD6A91-9A90-1041-90C6-3651717CFEDF}"/>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92B34445-488D-E544-91E2-837D95F61791}"/>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29FCD132-04A8-5144-B74A-2AEAB44AE30E}"/>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94" name="Freeform 93">
              <a:extLst>
                <a:ext uri="{FF2B5EF4-FFF2-40B4-BE49-F238E27FC236}">
                  <a16:creationId xmlns:a16="http://schemas.microsoft.com/office/drawing/2014/main" id="{35474F91-AF8E-F845-B12F-7F17E8F36BBF}"/>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95" name="Freeform 94">
              <a:extLst>
                <a:ext uri="{FF2B5EF4-FFF2-40B4-BE49-F238E27FC236}">
                  <a16:creationId xmlns:a16="http://schemas.microsoft.com/office/drawing/2014/main" id="{913D878C-4C3A-B545-9E35-0FCD9BE5FA7D}"/>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6FDBE0B1-0FB8-6243-BE81-BFA7DFC5C83C}"/>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FE3E502F-5308-8244-8113-9FB3ACB22D85}"/>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94762A06-BC04-0A4F-8BFE-2774619B5033}"/>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93D49018-577C-9545-91ED-6B1C4515C63A}"/>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grpSp>
        <p:nvGrpSpPr>
          <p:cNvPr id="100" name="Group 99">
            <a:extLst>
              <a:ext uri="{FF2B5EF4-FFF2-40B4-BE49-F238E27FC236}">
                <a16:creationId xmlns:a16="http://schemas.microsoft.com/office/drawing/2014/main" id="{2412E11F-6893-924E-B422-E69D7D628A99}"/>
              </a:ext>
            </a:extLst>
          </p:cNvPr>
          <p:cNvGrpSpPr/>
          <p:nvPr/>
        </p:nvGrpSpPr>
        <p:grpSpPr>
          <a:xfrm>
            <a:off x="9097952" y="4120801"/>
            <a:ext cx="901492" cy="901844"/>
            <a:chOff x="9097952" y="1550321"/>
            <a:chExt cx="901492" cy="901844"/>
          </a:xfrm>
        </p:grpSpPr>
        <p:sp>
          <p:nvSpPr>
            <p:cNvPr id="101" name="Freeform 100">
              <a:extLst>
                <a:ext uri="{FF2B5EF4-FFF2-40B4-BE49-F238E27FC236}">
                  <a16:creationId xmlns:a16="http://schemas.microsoft.com/office/drawing/2014/main" id="{53C4C768-4DA7-D542-9512-155048CFC4EF}"/>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C6964565-40CA-1E48-9325-1F2BF3EA0D8D}"/>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9807B64C-68C2-4241-9BA3-AA94249607BC}"/>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017E04F3-C0C3-304A-B67E-AE091B8897E3}"/>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B4DEFC8A-3907-EF44-8FBB-74F9A0ABB036}"/>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106" name="Freeform 105">
              <a:extLst>
                <a:ext uri="{FF2B5EF4-FFF2-40B4-BE49-F238E27FC236}">
                  <a16:creationId xmlns:a16="http://schemas.microsoft.com/office/drawing/2014/main" id="{71809F9A-D8F6-8447-9AF7-5BCA973D76C4}"/>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107" name="Freeform 106">
              <a:extLst>
                <a:ext uri="{FF2B5EF4-FFF2-40B4-BE49-F238E27FC236}">
                  <a16:creationId xmlns:a16="http://schemas.microsoft.com/office/drawing/2014/main" id="{A68018F1-797D-184F-87A7-FDC6182DE51D}"/>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108" name="Freeform 107">
              <a:extLst>
                <a:ext uri="{FF2B5EF4-FFF2-40B4-BE49-F238E27FC236}">
                  <a16:creationId xmlns:a16="http://schemas.microsoft.com/office/drawing/2014/main" id="{6EEC75A2-4B65-6643-8277-47B07D28F761}"/>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109" name="Freeform 108">
              <a:extLst>
                <a:ext uri="{FF2B5EF4-FFF2-40B4-BE49-F238E27FC236}">
                  <a16:creationId xmlns:a16="http://schemas.microsoft.com/office/drawing/2014/main" id="{896F8FEE-D3AC-ED47-ADF7-F4D0FE3658B3}"/>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110" name="Freeform 109">
              <a:extLst>
                <a:ext uri="{FF2B5EF4-FFF2-40B4-BE49-F238E27FC236}">
                  <a16:creationId xmlns:a16="http://schemas.microsoft.com/office/drawing/2014/main" id="{9BBE3346-3180-A742-B3C5-6D8115B377FA}"/>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111" name="Freeform 110">
              <a:extLst>
                <a:ext uri="{FF2B5EF4-FFF2-40B4-BE49-F238E27FC236}">
                  <a16:creationId xmlns:a16="http://schemas.microsoft.com/office/drawing/2014/main" id="{BE7C289F-6A22-8A48-B680-647725319758}"/>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112" name="Freeform 111">
              <a:extLst>
                <a:ext uri="{FF2B5EF4-FFF2-40B4-BE49-F238E27FC236}">
                  <a16:creationId xmlns:a16="http://schemas.microsoft.com/office/drawing/2014/main" id="{EDBA4046-E3DD-9148-9E84-95209AB31AB8}"/>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113" name="Freeform 112">
              <a:extLst>
                <a:ext uri="{FF2B5EF4-FFF2-40B4-BE49-F238E27FC236}">
                  <a16:creationId xmlns:a16="http://schemas.microsoft.com/office/drawing/2014/main" id="{ED27836B-B83B-A540-9B0B-0E0023A03978}"/>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grpSp>
        <p:nvGrpSpPr>
          <p:cNvPr id="114" name="Group 113">
            <a:extLst>
              <a:ext uri="{FF2B5EF4-FFF2-40B4-BE49-F238E27FC236}">
                <a16:creationId xmlns:a16="http://schemas.microsoft.com/office/drawing/2014/main" id="{65A34050-CC29-7445-898F-5C07DFCD3743}"/>
              </a:ext>
            </a:extLst>
          </p:cNvPr>
          <p:cNvGrpSpPr/>
          <p:nvPr/>
        </p:nvGrpSpPr>
        <p:grpSpPr>
          <a:xfrm>
            <a:off x="2808912" y="1550321"/>
            <a:ext cx="901492" cy="901844"/>
            <a:chOff x="9097952" y="1550321"/>
            <a:chExt cx="901492" cy="901844"/>
          </a:xfrm>
        </p:grpSpPr>
        <p:sp>
          <p:nvSpPr>
            <p:cNvPr id="115" name="Freeform 114">
              <a:extLst>
                <a:ext uri="{FF2B5EF4-FFF2-40B4-BE49-F238E27FC236}">
                  <a16:creationId xmlns:a16="http://schemas.microsoft.com/office/drawing/2014/main" id="{A62197EE-9081-9B41-A0D8-ADF48F3BF49E}"/>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116" name="Freeform 115">
              <a:extLst>
                <a:ext uri="{FF2B5EF4-FFF2-40B4-BE49-F238E27FC236}">
                  <a16:creationId xmlns:a16="http://schemas.microsoft.com/office/drawing/2014/main" id="{850DC553-8042-8842-937A-8059BAF5FF06}"/>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117" name="Freeform 116">
              <a:extLst>
                <a:ext uri="{FF2B5EF4-FFF2-40B4-BE49-F238E27FC236}">
                  <a16:creationId xmlns:a16="http://schemas.microsoft.com/office/drawing/2014/main" id="{40C2C82B-2398-7743-8E1E-E424B0F81057}"/>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118" name="Freeform 117">
              <a:extLst>
                <a:ext uri="{FF2B5EF4-FFF2-40B4-BE49-F238E27FC236}">
                  <a16:creationId xmlns:a16="http://schemas.microsoft.com/office/drawing/2014/main" id="{CD90B0E5-5FAC-5241-AD29-EB79EC729563}"/>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119" name="Freeform 118">
              <a:extLst>
                <a:ext uri="{FF2B5EF4-FFF2-40B4-BE49-F238E27FC236}">
                  <a16:creationId xmlns:a16="http://schemas.microsoft.com/office/drawing/2014/main" id="{86E6F4DF-F988-8B43-A7C9-16716274E4C6}"/>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120" name="Freeform 119">
              <a:extLst>
                <a:ext uri="{FF2B5EF4-FFF2-40B4-BE49-F238E27FC236}">
                  <a16:creationId xmlns:a16="http://schemas.microsoft.com/office/drawing/2014/main" id="{CFF84E0F-00E9-7541-B3F0-974E7C691794}"/>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121" name="Freeform 120">
              <a:extLst>
                <a:ext uri="{FF2B5EF4-FFF2-40B4-BE49-F238E27FC236}">
                  <a16:creationId xmlns:a16="http://schemas.microsoft.com/office/drawing/2014/main" id="{835D0FDD-26F2-1249-8CE9-FAF46C8753D4}"/>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122" name="Freeform 121">
              <a:extLst>
                <a:ext uri="{FF2B5EF4-FFF2-40B4-BE49-F238E27FC236}">
                  <a16:creationId xmlns:a16="http://schemas.microsoft.com/office/drawing/2014/main" id="{2E01EBD3-6A97-A44A-B4AC-2631A8760A35}"/>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123" name="Freeform 122">
              <a:extLst>
                <a:ext uri="{FF2B5EF4-FFF2-40B4-BE49-F238E27FC236}">
                  <a16:creationId xmlns:a16="http://schemas.microsoft.com/office/drawing/2014/main" id="{B12641DD-B680-C44C-AC5F-F7DF88C505E9}"/>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124" name="Freeform 123">
              <a:extLst>
                <a:ext uri="{FF2B5EF4-FFF2-40B4-BE49-F238E27FC236}">
                  <a16:creationId xmlns:a16="http://schemas.microsoft.com/office/drawing/2014/main" id="{47917B55-E523-EE40-9155-459A1E08A8AC}"/>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125" name="Freeform 124">
              <a:extLst>
                <a:ext uri="{FF2B5EF4-FFF2-40B4-BE49-F238E27FC236}">
                  <a16:creationId xmlns:a16="http://schemas.microsoft.com/office/drawing/2014/main" id="{B21D5268-A380-8242-88EC-5BD44EE90C41}"/>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126" name="Freeform 125">
              <a:extLst>
                <a:ext uri="{FF2B5EF4-FFF2-40B4-BE49-F238E27FC236}">
                  <a16:creationId xmlns:a16="http://schemas.microsoft.com/office/drawing/2014/main" id="{41C2870F-8C29-7F47-8812-35D19843896B}"/>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127" name="Freeform 126">
              <a:extLst>
                <a:ext uri="{FF2B5EF4-FFF2-40B4-BE49-F238E27FC236}">
                  <a16:creationId xmlns:a16="http://schemas.microsoft.com/office/drawing/2014/main" id="{0B4181A1-B171-B248-9666-6CE423B605DF}"/>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grpSp>
        <p:nvGrpSpPr>
          <p:cNvPr id="128" name="Group 127">
            <a:extLst>
              <a:ext uri="{FF2B5EF4-FFF2-40B4-BE49-F238E27FC236}">
                <a16:creationId xmlns:a16="http://schemas.microsoft.com/office/drawing/2014/main" id="{C817762B-0C50-3846-B4BF-345EF2AF0D95}"/>
              </a:ext>
            </a:extLst>
          </p:cNvPr>
          <p:cNvGrpSpPr/>
          <p:nvPr/>
        </p:nvGrpSpPr>
        <p:grpSpPr>
          <a:xfrm>
            <a:off x="2808912" y="4120801"/>
            <a:ext cx="901492" cy="901844"/>
            <a:chOff x="9097952" y="1550321"/>
            <a:chExt cx="901492" cy="901844"/>
          </a:xfrm>
        </p:grpSpPr>
        <p:sp>
          <p:nvSpPr>
            <p:cNvPr id="129" name="Freeform 128">
              <a:extLst>
                <a:ext uri="{FF2B5EF4-FFF2-40B4-BE49-F238E27FC236}">
                  <a16:creationId xmlns:a16="http://schemas.microsoft.com/office/drawing/2014/main" id="{B7593D87-F4CC-4344-8C21-8BB4E3768854}"/>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130" name="Freeform 129">
              <a:extLst>
                <a:ext uri="{FF2B5EF4-FFF2-40B4-BE49-F238E27FC236}">
                  <a16:creationId xmlns:a16="http://schemas.microsoft.com/office/drawing/2014/main" id="{F5D7953B-781D-5841-94D6-AA0DCCF34908}"/>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131" name="Freeform 130">
              <a:extLst>
                <a:ext uri="{FF2B5EF4-FFF2-40B4-BE49-F238E27FC236}">
                  <a16:creationId xmlns:a16="http://schemas.microsoft.com/office/drawing/2014/main" id="{E5887B77-56E5-D94C-9318-0458BB490E2E}"/>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132" name="Freeform 131">
              <a:extLst>
                <a:ext uri="{FF2B5EF4-FFF2-40B4-BE49-F238E27FC236}">
                  <a16:creationId xmlns:a16="http://schemas.microsoft.com/office/drawing/2014/main" id="{8E6404FA-56BD-3946-A7B6-898D8763077E}"/>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133" name="Freeform 132">
              <a:extLst>
                <a:ext uri="{FF2B5EF4-FFF2-40B4-BE49-F238E27FC236}">
                  <a16:creationId xmlns:a16="http://schemas.microsoft.com/office/drawing/2014/main" id="{5C255E58-418E-C044-8C43-4E7308C93BF2}"/>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134" name="Freeform 133">
              <a:extLst>
                <a:ext uri="{FF2B5EF4-FFF2-40B4-BE49-F238E27FC236}">
                  <a16:creationId xmlns:a16="http://schemas.microsoft.com/office/drawing/2014/main" id="{18DF26E6-C81A-E64A-9224-695577FF050E}"/>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135" name="Freeform 134">
              <a:extLst>
                <a:ext uri="{FF2B5EF4-FFF2-40B4-BE49-F238E27FC236}">
                  <a16:creationId xmlns:a16="http://schemas.microsoft.com/office/drawing/2014/main" id="{7B167095-87CD-9B49-A4C4-5D1D6F7858A8}"/>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136" name="Freeform 135">
              <a:extLst>
                <a:ext uri="{FF2B5EF4-FFF2-40B4-BE49-F238E27FC236}">
                  <a16:creationId xmlns:a16="http://schemas.microsoft.com/office/drawing/2014/main" id="{9EAB73C8-CBE6-DA46-9DB4-DB50F95CF2D6}"/>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137" name="Freeform 136">
              <a:extLst>
                <a:ext uri="{FF2B5EF4-FFF2-40B4-BE49-F238E27FC236}">
                  <a16:creationId xmlns:a16="http://schemas.microsoft.com/office/drawing/2014/main" id="{259F3F17-9DC3-BA48-B8E5-CAF8D6FEE2A5}"/>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138" name="Freeform 137">
              <a:extLst>
                <a:ext uri="{FF2B5EF4-FFF2-40B4-BE49-F238E27FC236}">
                  <a16:creationId xmlns:a16="http://schemas.microsoft.com/office/drawing/2014/main" id="{B64748D1-B9F5-3C40-9A3A-6FC51C809AE3}"/>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139" name="Freeform 138">
              <a:extLst>
                <a:ext uri="{FF2B5EF4-FFF2-40B4-BE49-F238E27FC236}">
                  <a16:creationId xmlns:a16="http://schemas.microsoft.com/office/drawing/2014/main" id="{20A099A8-1963-9244-BF59-7F4337011CFE}"/>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140" name="Freeform 139">
              <a:extLst>
                <a:ext uri="{FF2B5EF4-FFF2-40B4-BE49-F238E27FC236}">
                  <a16:creationId xmlns:a16="http://schemas.microsoft.com/office/drawing/2014/main" id="{AB7D4A71-0448-E747-AF96-75BD1675C28A}"/>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141" name="Freeform 140">
              <a:extLst>
                <a:ext uri="{FF2B5EF4-FFF2-40B4-BE49-F238E27FC236}">
                  <a16:creationId xmlns:a16="http://schemas.microsoft.com/office/drawing/2014/main" id="{A6B7DB30-B3DC-D140-8AAE-BCDEB7BE8430}"/>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spTree>
    <p:extLst>
      <p:ext uri="{BB962C8B-B14F-4D97-AF65-F5344CB8AC3E}">
        <p14:creationId xmlns:p14="http://schemas.microsoft.com/office/powerpoint/2010/main" val="12762575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60051A6-D47A-4770-A70E-0054628711A8}"/>
              </a:ext>
            </a:extLst>
          </p:cNvPr>
          <p:cNvCxnSpPr/>
          <p:nvPr/>
        </p:nvCxnSpPr>
        <p:spPr>
          <a:xfrm>
            <a:off x="3393007" y="3307359"/>
            <a:ext cx="1920377" cy="248920"/>
          </a:xfrm>
          <a:prstGeom prst="line">
            <a:avLst/>
          </a:prstGeom>
          <a:ln w="666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1090C06-1D62-4253-8BAF-26C49C4A819B}"/>
              </a:ext>
            </a:extLst>
          </p:cNvPr>
          <p:cNvCxnSpPr>
            <a:cxnSpLocks/>
          </p:cNvCxnSpPr>
          <p:nvPr/>
        </p:nvCxnSpPr>
        <p:spPr>
          <a:xfrm flipV="1">
            <a:off x="4984454" y="5038570"/>
            <a:ext cx="944880" cy="1524000"/>
          </a:xfrm>
          <a:prstGeom prst="line">
            <a:avLst/>
          </a:prstGeom>
          <a:ln w="666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9CFD11-EA3D-4B9E-85FD-FD0B45A78697}"/>
              </a:ext>
            </a:extLst>
          </p:cNvPr>
          <p:cNvCxnSpPr>
            <a:cxnSpLocks/>
          </p:cNvCxnSpPr>
          <p:nvPr/>
        </p:nvCxnSpPr>
        <p:spPr>
          <a:xfrm flipH="1" flipV="1">
            <a:off x="7518104" y="5038568"/>
            <a:ext cx="914400" cy="1524002"/>
          </a:xfrm>
          <a:prstGeom prst="line">
            <a:avLst/>
          </a:prstGeom>
          <a:ln w="666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92DB553-E03B-4FED-A711-DBD6A4B95E33}"/>
              </a:ext>
            </a:extLst>
          </p:cNvPr>
          <p:cNvCxnSpPr>
            <a:cxnSpLocks/>
          </p:cNvCxnSpPr>
          <p:nvPr/>
        </p:nvCxnSpPr>
        <p:spPr>
          <a:xfrm flipV="1">
            <a:off x="8036264" y="3451070"/>
            <a:ext cx="1889760" cy="203200"/>
          </a:xfrm>
          <a:prstGeom prst="line">
            <a:avLst/>
          </a:prstGeom>
          <a:ln w="66675">
            <a:solidFill>
              <a:srgbClr val="404040"/>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5C3B4CA6-2FFB-4559-8D19-BDB231FA4709}"/>
              </a:ext>
            </a:extLst>
          </p:cNvPr>
          <p:cNvSpPr/>
          <p:nvPr/>
        </p:nvSpPr>
        <p:spPr>
          <a:xfrm>
            <a:off x="5313384" y="2544291"/>
            <a:ext cx="2773680" cy="277368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grpSp>
        <p:nvGrpSpPr>
          <p:cNvPr id="73" name="Group 72">
            <a:extLst>
              <a:ext uri="{FF2B5EF4-FFF2-40B4-BE49-F238E27FC236}">
                <a16:creationId xmlns:a16="http://schemas.microsoft.com/office/drawing/2014/main" id="{FBB80EDB-54DA-48D7-81ED-5A90D8367DE6}"/>
              </a:ext>
            </a:extLst>
          </p:cNvPr>
          <p:cNvGrpSpPr/>
          <p:nvPr/>
        </p:nvGrpSpPr>
        <p:grpSpPr>
          <a:xfrm>
            <a:off x="5370400" y="2624956"/>
            <a:ext cx="2614691" cy="2607488"/>
            <a:chOff x="4787967" y="2531087"/>
            <a:chExt cx="2614691" cy="2607488"/>
          </a:xfrm>
          <a:solidFill>
            <a:srgbClr val="08D6A2"/>
          </a:solidFill>
        </p:grpSpPr>
        <p:sp>
          <p:nvSpPr>
            <p:cNvPr id="74" name="Oval 73">
              <a:extLst>
                <a:ext uri="{FF2B5EF4-FFF2-40B4-BE49-F238E27FC236}">
                  <a16:creationId xmlns:a16="http://schemas.microsoft.com/office/drawing/2014/main" id="{6511E7C0-A317-48EA-AC3E-ED7BB445730A}"/>
                </a:ext>
              </a:extLst>
            </p:cNvPr>
            <p:cNvSpPr>
              <a:spLocks noChangeArrowheads="1"/>
            </p:cNvSpPr>
            <p:nvPr/>
          </p:nvSpPr>
          <p:spPr bwMode="auto">
            <a:xfrm>
              <a:off x="4787967" y="2531087"/>
              <a:ext cx="2614691" cy="2607488"/>
            </a:xfrm>
            <a:prstGeom prst="ellipse">
              <a:avLst/>
            </a:pr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prstClr val="black"/>
                </a:solidFill>
                <a:effectLst/>
                <a:uLnTx/>
                <a:uFillTx/>
              </a:endParaRPr>
            </a:p>
          </p:txBody>
        </p:sp>
        <p:sp>
          <p:nvSpPr>
            <p:cNvPr id="75" name="Oval 74">
              <a:extLst>
                <a:ext uri="{FF2B5EF4-FFF2-40B4-BE49-F238E27FC236}">
                  <a16:creationId xmlns:a16="http://schemas.microsoft.com/office/drawing/2014/main" id="{3BEA9FDC-1AB7-45BE-B797-E92C63E14D0B}"/>
                </a:ext>
              </a:extLst>
            </p:cNvPr>
            <p:cNvSpPr/>
            <p:nvPr/>
          </p:nvSpPr>
          <p:spPr>
            <a:xfrm rot="3387866">
              <a:off x="5311082" y="2575422"/>
              <a:ext cx="567661" cy="1032594"/>
            </a:xfrm>
            <a:prstGeom prst="ellipse">
              <a:avLst/>
            </a:prstGeom>
            <a:grp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ED980227-A8AA-405F-BFC7-513AF8529E95}"/>
                </a:ext>
              </a:extLst>
            </p:cNvPr>
            <p:cNvSpPr>
              <a:spLocks noChangeArrowheads="1"/>
            </p:cNvSpPr>
            <p:nvPr/>
          </p:nvSpPr>
          <p:spPr bwMode="auto">
            <a:xfrm>
              <a:off x="4919587" y="2886386"/>
              <a:ext cx="2482984" cy="2247694"/>
            </a:xfrm>
            <a:custGeom>
              <a:avLst/>
              <a:gdLst>
                <a:gd name="connsiteX0" fmla="*/ 2075727 w 2482984"/>
                <a:gd name="connsiteY0" fmla="*/ 0 h 2247694"/>
                <a:gd name="connsiteX1" fmla="*/ 2100071 w 2482984"/>
                <a:gd name="connsiteY1" fmla="*/ 22064 h 2247694"/>
                <a:gd name="connsiteX2" fmla="*/ 2482984 w 2482984"/>
                <a:gd name="connsiteY2" fmla="*/ 943950 h 2247694"/>
                <a:gd name="connsiteX3" fmla="*/ 1175638 w 2482984"/>
                <a:gd name="connsiteY3" fmla="*/ 2247694 h 2247694"/>
                <a:gd name="connsiteX4" fmla="*/ 26082 w 2482984"/>
                <a:gd name="connsiteY4" fmla="*/ 1565392 h 2247694"/>
                <a:gd name="connsiteX5" fmla="*/ 0 w 2482984"/>
                <a:gd name="connsiteY5" fmla="*/ 1511398 h 2247694"/>
                <a:gd name="connsiteX6" fmla="*/ 68496 w 2482984"/>
                <a:gd name="connsiteY6" fmla="*/ 1573480 h 2247694"/>
                <a:gd name="connsiteX7" fmla="*/ 900089 w 2482984"/>
                <a:gd name="connsiteY7" fmla="*/ 1871192 h 2247694"/>
                <a:gd name="connsiteX8" fmla="*/ 2207435 w 2482984"/>
                <a:gd name="connsiteY8" fmla="*/ 567448 h 2247694"/>
                <a:gd name="connsiteX9" fmla="*/ 2104697 w 2482984"/>
                <a:gd name="connsiteY9" fmla="*/ 59972 h 2247694"/>
                <a:gd name="connsiteX10" fmla="*/ 2075727 w 2482984"/>
                <a:gd name="connsiteY10" fmla="*/ 0 h 224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2984" h="2247694">
                  <a:moveTo>
                    <a:pt x="2075727" y="0"/>
                  </a:moveTo>
                  <a:lnTo>
                    <a:pt x="2100071" y="22064"/>
                  </a:lnTo>
                  <a:cubicBezTo>
                    <a:pt x="2336654" y="257995"/>
                    <a:pt x="2482984" y="583931"/>
                    <a:pt x="2482984" y="943950"/>
                  </a:cubicBezTo>
                  <a:cubicBezTo>
                    <a:pt x="2482984" y="1663988"/>
                    <a:pt x="1897665" y="2247694"/>
                    <a:pt x="1175638" y="2247694"/>
                  </a:cubicBezTo>
                  <a:cubicBezTo>
                    <a:pt x="679244" y="2247694"/>
                    <a:pt x="247467" y="1971802"/>
                    <a:pt x="26082" y="1565392"/>
                  </a:cubicBezTo>
                  <a:lnTo>
                    <a:pt x="0" y="1511398"/>
                  </a:lnTo>
                  <a:lnTo>
                    <a:pt x="68496" y="1573480"/>
                  </a:lnTo>
                  <a:cubicBezTo>
                    <a:pt x="294482" y="1759467"/>
                    <a:pt x="584202" y="1871192"/>
                    <a:pt x="900089" y="1871192"/>
                  </a:cubicBezTo>
                  <a:cubicBezTo>
                    <a:pt x="1622116" y="1871192"/>
                    <a:pt x="2207435" y="1287486"/>
                    <a:pt x="2207435" y="567448"/>
                  </a:cubicBezTo>
                  <a:cubicBezTo>
                    <a:pt x="2207435" y="387439"/>
                    <a:pt x="2170853" y="215950"/>
                    <a:pt x="2104697" y="59972"/>
                  </a:cubicBezTo>
                  <a:lnTo>
                    <a:pt x="2075727" y="0"/>
                  </a:lnTo>
                  <a:close/>
                </a:path>
              </a:pathLst>
            </a:custGeom>
            <a:solidFill>
              <a:srgbClr val="08D6A2"/>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endParaRPr>
            </a:p>
          </p:txBody>
        </p:sp>
      </p:grpSp>
      <p:sp>
        <p:nvSpPr>
          <p:cNvPr id="45" name="Freeform 39">
            <a:extLst>
              <a:ext uri="{FF2B5EF4-FFF2-40B4-BE49-F238E27FC236}">
                <a16:creationId xmlns:a16="http://schemas.microsoft.com/office/drawing/2014/main" id="{D4197A96-0D9C-49C2-8F37-34682E638C74}"/>
              </a:ext>
            </a:extLst>
          </p:cNvPr>
          <p:cNvSpPr/>
          <p:nvPr/>
        </p:nvSpPr>
        <p:spPr>
          <a:xfrm>
            <a:off x="0" y="-5987562"/>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grpSp>
        <p:nvGrpSpPr>
          <p:cNvPr id="46" name="Group 24">
            <a:extLst>
              <a:ext uri="{FF2B5EF4-FFF2-40B4-BE49-F238E27FC236}">
                <a16:creationId xmlns:a16="http://schemas.microsoft.com/office/drawing/2014/main" id="{E9C8772D-7394-45D0-ACE2-234877C89BD3}"/>
              </a:ext>
            </a:extLst>
          </p:cNvPr>
          <p:cNvGrpSpPr/>
          <p:nvPr/>
        </p:nvGrpSpPr>
        <p:grpSpPr>
          <a:xfrm>
            <a:off x="-842559" y="494367"/>
            <a:ext cx="827568" cy="828000"/>
            <a:chOff x="-842559" y="468160"/>
            <a:chExt cx="827568" cy="828000"/>
          </a:xfrm>
        </p:grpSpPr>
        <p:sp>
          <p:nvSpPr>
            <p:cNvPr id="47" name="Oval 25">
              <a:extLst>
                <a:ext uri="{FF2B5EF4-FFF2-40B4-BE49-F238E27FC236}">
                  <a16:creationId xmlns:a16="http://schemas.microsoft.com/office/drawing/2014/main" id="{72B31CFC-FB87-4524-B7CB-F5B5435652AF}"/>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48" name="Graphic 26" descr="Lightbulb">
              <a:extLst>
                <a:ext uri="{FF2B5EF4-FFF2-40B4-BE49-F238E27FC236}">
                  <a16:creationId xmlns:a16="http://schemas.microsoft.com/office/drawing/2014/main" id="{30E59A4B-6D46-440C-B6D9-C2852E3A2C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0293" y="530642"/>
              <a:ext cx="703036" cy="703036"/>
            </a:xfrm>
            <a:prstGeom prst="rect">
              <a:avLst/>
            </a:prstGeom>
          </p:spPr>
        </p:pic>
      </p:grpSp>
      <p:grpSp>
        <p:nvGrpSpPr>
          <p:cNvPr id="49" name="Group 27">
            <a:extLst>
              <a:ext uri="{FF2B5EF4-FFF2-40B4-BE49-F238E27FC236}">
                <a16:creationId xmlns:a16="http://schemas.microsoft.com/office/drawing/2014/main" id="{139143B8-34D5-4A45-A950-0DAB35649D37}"/>
              </a:ext>
            </a:extLst>
          </p:cNvPr>
          <p:cNvGrpSpPr/>
          <p:nvPr/>
        </p:nvGrpSpPr>
        <p:grpSpPr>
          <a:xfrm>
            <a:off x="-842559" y="1741580"/>
            <a:ext cx="827568" cy="828000"/>
            <a:chOff x="-842559" y="1741580"/>
            <a:chExt cx="827568" cy="828000"/>
          </a:xfrm>
        </p:grpSpPr>
        <p:sp>
          <p:nvSpPr>
            <p:cNvPr id="50" name="Oval 28">
              <a:extLst>
                <a:ext uri="{FF2B5EF4-FFF2-40B4-BE49-F238E27FC236}">
                  <a16:creationId xmlns:a16="http://schemas.microsoft.com/office/drawing/2014/main" id="{46693EA0-6AA6-497B-9916-00E005260B42}"/>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51" name="Graphic 29" descr="Point d’exclamation">
              <a:hlinkClick r:id="rId4" action="ppaction://hlinksldjump"/>
              <a:extLst>
                <a:ext uri="{FF2B5EF4-FFF2-40B4-BE49-F238E27FC236}">
                  <a16:creationId xmlns:a16="http://schemas.microsoft.com/office/drawing/2014/main" id="{CEE0D448-6925-4A42-BE8D-A91B0F2D9A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4943" y="1849412"/>
              <a:ext cx="612336" cy="612336"/>
            </a:xfrm>
            <a:prstGeom prst="rect">
              <a:avLst/>
            </a:prstGeom>
          </p:spPr>
        </p:pic>
      </p:grpSp>
      <p:grpSp>
        <p:nvGrpSpPr>
          <p:cNvPr id="52" name="Group 36">
            <a:extLst>
              <a:ext uri="{FF2B5EF4-FFF2-40B4-BE49-F238E27FC236}">
                <a16:creationId xmlns:a16="http://schemas.microsoft.com/office/drawing/2014/main" id="{384D7B06-82AF-4ACE-8646-7FA592BCDB0A}"/>
              </a:ext>
            </a:extLst>
          </p:cNvPr>
          <p:cNvGrpSpPr/>
          <p:nvPr/>
        </p:nvGrpSpPr>
        <p:grpSpPr>
          <a:xfrm>
            <a:off x="-842559" y="3015000"/>
            <a:ext cx="827568" cy="828000"/>
            <a:chOff x="-837416" y="3015000"/>
            <a:chExt cx="827568" cy="828000"/>
          </a:xfrm>
        </p:grpSpPr>
        <p:sp>
          <p:nvSpPr>
            <p:cNvPr id="53" name="Oval 37">
              <a:extLst>
                <a:ext uri="{FF2B5EF4-FFF2-40B4-BE49-F238E27FC236}">
                  <a16:creationId xmlns:a16="http://schemas.microsoft.com/office/drawing/2014/main" id="{A6B2A918-6661-42E4-ABF4-5A7712C0CCA5}"/>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54" name="Graphic 38">
              <a:hlinkClick r:id="rId7" action="ppaction://hlinksldjump"/>
              <a:extLst>
                <a:ext uri="{FF2B5EF4-FFF2-40B4-BE49-F238E27FC236}">
                  <a16:creationId xmlns:a16="http://schemas.microsoft.com/office/drawing/2014/main" id="{49F3AC5C-F0E3-4B50-9B6E-1AE360DAAA8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4666" y="3111959"/>
              <a:ext cx="620915" cy="620915"/>
            </a:xfrm>
            <a:prstGeom prst="rect">
              <a:avLst/>
            </a:prstGeom>
          </p:spPr>
        </p:pic>
      </p:grpSp>
      <p:pic>
        <p:nvPicPr>
          <p:cNvPr id="55" name="Graphic 40" descr="Lightbulb">
            <a:hlinkClick r:id="rId10" action="ppaction://hlinksldjump"/>
            <a:extLst>
              <a:ext uri="{FF2B5EF4-FFF2-40B4-BE49-F238E27FC236}">
                <a16:creationId xmlns:a16="http://schemas.microsoft.com/office/drawing/2014/main" id="{4F72F7C2-9FC8-4533-A57C-20B4CF43744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7756" y="530641"/>
            <a:ext cx="703036" cy="703036"/>
          </a:xfrm>
          <a:prstGeom prst="rect">
            <a:avLst/>
          </a:prstGeom>
        </p:spPr>
      </p:pic>
      <p:pic>
        <p:nvPicPr>
          <p:cNvPr id="56" name="Graphic 41" descr="Point d’exclamation">
            <a:hlinkClick r:id="rId4" action="ppaction://hlinksldjump"/>
            <a:extLst>
              <a:ext uri="{FF2B5EF4-FFF2-40B4-BE49-F238E27FC236}">
                <a16:creationId xmlns:a16="http://schemas.microsoft.com/office/drawing/2014/main" id="{F5F81266-DEFF-414A-9D44-0AC92C5AE09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3106" y="1849411"/>
            <a:ext cx="612336" cy="612336"/>
          </a:xfrm>
          <a:prstGeom prst="rect">
            <a:avLst/>
          </a:prstGeom>
        </p:spPr>
      </p:pic>
      <p:pic>
        <p:nvPicPr>
          <p:cNvPr id="57" name="Graphic 42">
            <a:hlinkClick r:id="rId7" action="ppaction://hlinksldjump"/>
            <a:extLst>
              <a:ext uri="{FF2B5EF4-FFF2-40B4-BE49-F238E27FC236}">
                <a16:creationId xmlns:a16="http://schemas.microsoft.com/office/drawing/2014/main" id="{D0179E2A-7CBF-448D-BCFD-16BF97A22BD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59877" y="3127456"/>
            <a:ext cx="620915" cy="620915"/>
          </a:xfrm>
          <a:prstGeom prst="rect">
            <a:avLst/>
          </a:prstGeom>
        </p:spPr>
      </p:pic>
      <p:grpSp>
        <p:nvGrpSpPr>
          <p:cNvPr id="58" name="Group 30">
            <a:extLst>
              <a:ext uri="{FF2B5EF4-FFF2-40B4-BE49-F238E27FC236}">
                <a16:creationId xmlns:a16="http://schemas.microsoft.com/office/drawing/2014/main" id="{F8C9FD50-6067-450C-97C5-5D548E6D9C28}"/>
              </a:ext>
            </a:extLst>
          </p:cNvPr>
          <p:cNvGrpSpPr/>
          <p:nvPr/>
        </p:nvGrpSpPr>
        <p:grpSpPr>
          <a:xfrm>
            <a:off x="-842559" y="4288420"/>
            <a:ext cx="827568" cy="828000"/>
            <a:chOff x="-842559" y="4288420"/>
            <a:chExt cx="827568" cy="828000"/>
          </a:xfrm>
        </p:grpSpPr>
        <p:sp>
          <p:nvSpPr>
            <p:cNvPr id="59" name="Oval 31">
              <a:extLst>
                <a:ext uri="{FF2B5EF4-FFF2-40B4-BE49-F238E27FC236}">
                  <a16:creationId xmlns:a16="http://schemas.microsoft.com/office/drawing/2014/main" id="{933D90AA-3E20-4EDC-A0A0-DA3C8BBD596F}"/>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0" name="Graphic 32" descr="Single gear">
              <a:extLst>
                <a:ext uri="{FF2B5EF4-FFF2-40B4-BE49-F238E27FC236}">
                  <a16:creationId xmlns:a16="http://schemas.microsoft.com/office/drawing/2014/main" id="{936DC00B-E6E3-473A-8FB7-971AE9C9F7A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80293" y="4363185"/>
              <a:ext cx="724649" cy="724649"/>
            </a:xfrm>
            <a:prstGeom prst="rect">
              <a:avLst/>
            </a:prstGeom>
          </p:spPr>
        </p:pic>
      </p:grpSp>
      <p:grpSp>
        <p:nvGrpSpPr>
          <p:cNvPr id="61" name="Group 33">
            <a:extLst>
              <a:ext uri="{FF2B5EF4-FFF2-40B4-BE49-F238E27FC236}">
                <a16:creationId xmlns:a16="http://schemas.microsoft.com/office/drawing/2014/main" id="{6DCFB7C5-6278-4F78-A62B-20ACF5C2E403}"/>
              </a:ext>
            </a:extLst>
          </p:cNvPr>
          <p:cNvGrpSpPr/>
          <p:nvPr/>
        </p:nvGrpSpPr>
        <p:grpSpPr>
          <a:xfrm>
            <a:off x="866458" y="5561840"/>
            <a:ext cx="827568" cy="828000"/>
            <a:chOff x="-842559" y="5561839"/>
            <a:chExt cx="827568" cy="828000"/>
          </a:xfrm>
        </p:grpSpPr>
        <p:sp>
          <p:nvSpPr>
            <p:cNvPr id="62" name="Oval 34">
              <a:extLst>
                <a:ext uri="{FF2B5EF4-FFF2-40B4-BE49-F238E27FC236}">
                  <a16:creationId xmlns:a16="http://schemas.microsoft.com/office/drawing/2014/main" id="{C47E64C6-CEF1-4368-80AD-BBA812E1E393}"/>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3" name="Graphic 35">
              <a:hlinkClick r:id="rId19" action="ppaction://hlinksldjump"/>
              <a:extLst>
                <a:ext uri="{FF2B5EF4-FFF2-40B4-BE49-F238E27FC236}">
                  <a16:creationId xmlns:a16="http://schemas.microsoft.com/office/drawing/2014/main" id="{540463AC-43EB-4468-9174-66115F60065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68781" y="5734330"/>
              <a:ext cx="507764" cy="451345"/>
            </a:xfrm>
            <a:prstGeom prst="rect">
              <a:avLst/>
            </a:prstGeom>
          </p:spPr>
        </p:pic>
      </p:grpSp>
      <p:pic>
        <p:nvPicPr>
          <p:cNvPr id="64" name="Graphic 43" descr="Single gear">
            <a:hlinkClick r:id="rId22" action="ppaction://hlinksldjump"/>
            <a:extLst>
              <a:ext uri="{FF2B5EF4-FFF2-40B4-BE49-F238E27FC236}">
                <a16:creationId xmlns:a16="http://schemas.microsoft.com/office/drawing/2014/main" id="{092654FE-2DBD-4390-95DF-BB60105EC48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77756" y="4363184"/>
            <a:ext cx="724649" cy="724649"/>
          </a:xfrm>
          <a:prstGeom prst="rect">
            <a:avLst/>
          </a:prstGeom>
        </p:spPr>
      </p:pic>
      <p:pic>
        <p:nvPicPr>
          <p:cNvPr id="65" name="Graphic 44" descr="Users">
            <a:hlinkClick r:id="rId19" action="ppaction://hlinksldjump"/>
            <a:extLst>
              <a:ext uri="{FF2B5EF4-FFF2-40B4-BE49-F238E27FC236}">
                <a16:creationId xmlns:a16="http://schemas.microsoft.com/office/drawing/2014/main" id="{105B43A2-F028-428B-953C-87392A06158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80485" y="5614878"/>
            <a:ext cx="721920" cy="721920"/>
          </a:xfrm>
          <a:prstGeom prst="rect">
            <a:avLst/>
          </a:prstGeom>
        </p:spPr>
      </p:pic>
      <p:sp>
        <p:nvSpPr>
          <p:cNvPr id="66" name="TextBox 53">
            <a:extLst>
              <a:ext uri="{FF2B5EF4-FFF2-40B4-BE49-F238E27FC236}">
                <a16:creationId xmlns:a16="http://schemas.microsoft.com/office/drawing/2014/main" id="{7677219A-6E67-4F7C-BD05-143F7D323840}"/>
              </a:ext>
            </a:extLst>
          </p:cNvPr>
          <p:cNvSpPr txBox="1"/>
          <p:nvPr/>
        </p:nvSpPr>
        <p:spPr>
          <a:xfrm>
            <a:off x="4190016" y="446600"/>
            <a:ext cx="4455067" cy="584775"/>
          </a:xfrm>
          <a:prstGeom prst="rect">
            <a:avLst/>
          </a:prstGeom>
          <a:noFill/>
        </p:spPr>
        <p:txBody>
          <a:bodyPr wrap="none" rtlCol="0">
            <a:spAutoFit/>
          </a:bodyPr>
          <a:lstStyle/>
          <a:p>
            <a:pPr algn="ctr"/>
            <a:r>
              <a:rPr lang="fr-FR" sz="3200" b="1" spc="300" dirty="0">
                <a:solidFill>
                  <a:schemeClr val="tx1">
                    <a:lumMod val="75000"/>
                    <a:lumOff val="25000"/>
                  </a:schemeClr>
                </a:solidFill>
                <a:latin typeface="Montserrat" pitchFamily="2" charset="77"/>
              </a:rPr>
              <a:t>GIT COMMANDES</a:t>
            </a:r>
            <a:endParaRPr lang="en-LT" sz="3200" b="1" spc="300" dirty="0">
              <a:solidFill>
                <a:schemeClr val="tx1">
                  <a:lumMod val="75000"/>
                  <a:lumOff val="25000"/>
                </a:schemeClr>
              </a:solidFill>
              <a:latin typeface="Montserrat" pitchFamily="2" charset="77"/>
            </a:endParaRPr>
          </a:p>
        </p:txBody>
      </p:sp>
      <p:pic>
        <p:nvPicPr>
          <p:cNvPr id="67" name="Graphic 74">
            <a:extLst>
              <a:ext uri="{FF2B5EF4-FFF2-40B4-BE49-F238E27FC236}">
                <a16:creationId xmlns:a16="http://schemas.microsoft.com/office/drawing/2014/main" id="{0A4A1CE2-E223-4F9D-8B4C-E653F725E9B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rot="21480000">
            <a:off x="4967136" y="962784"/>
            <a:ext cx="2900823" cy="123865"/>
          </a:xfrm>
          <a:prstGeom prst="rect">
            <a:avLst/>
          </a:prstGeom>
        </p:spPr>
      </p:pic>
      <p:pic>
        <p:nvPicPr>
          <p:cNvPr id="3" name="Graphique 2">
            <a:hlinkClick r:id="rId29" action="ppaction://hlinksldjump"/>
            <a:extLst>
              <a:ext uri="{FF2B5EF4-FFF2-40B4-BE49-F238E27FC236}">
                <a16:creationId xmlns:a16="http://schemas.microsoft.com/office/drawing/2014/main" id="{242B1730-9797-4B11-A783-16AB3857E203}"/>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6478268" y="1278785"/>
            <a:ext cx="532412" cy="532412"/>
          </a:xfrm>
          <a:prstGeom prst="rect">
            <a:avLst/>
          </a:prstGeom>
        </p:spPr>
      </p:pic>
      <p:sp>
        <p:nvSpPr>
          <p:cNvPr id="70" name="TextBox 54">
            <a:hlinkClick r:id="rId29" action="ppaction://hlinksldjump"/>
            <a:extLst>
              <a:ext uri="{FF2B5EF4-FFF2-40B4-BE49-F238E27FC236}">
                <a16:creationId xmlns:a16="http://schemas.microsoft.com/office/drawing/2014/main" id="{352A5FEA-95BC-409F-A862-7795B0036CE0}"/>
              </a:ext>
            </a:extLst>
          </p:cNvPr>
          <p:cNvSpPr txBox="1"/>
          <p:nvPr/>
        </p:nvSpPr>
        <p:spPr>
          <a:xfrm>
            <a:off x="5780727" y="1896653"/>
            <a:ext cx="2008884" cy="276999"/>
          </a:xfrm>
          <a:prstGeom prst="rect">
            <a:avLst/>
          </a:prstGeom>
          <a:noFill/>
        </p:spPr>
        <p:txBody>
          <a:bodyPr wrap="square" rtlCol="0">
            <a:spAutoFit/>
          </a:bodyPr>
          <a:lstStyle/>
          <a:p>
            <a:pPr algn="ctr"/>
            <a:r>
              <a:rPr lang="fr-FR" sz="1200" b="1" spc="300" dirty="0">
                <a:solidFill>
                  <a:schemeClr val="tx1">
                    <a:lumMod val="75000"/>
                    <a:lumOff val="25000"/>
                  </a:schemeClr>
                </a:solidFill>
                <a:latin typeface="Montserrat" pitchFamily="2" charset="77"/>
              </a:rPr>
              <a:t>Init</a:t>
            </a:r>
            <a:endParaRPr lang="en-LT" sz="1200" b="1" spc="300" dirty="0">
              <a:solidFill>
                <a:schemeClr val="tx1">
                  <a:lumMod val="75000"/>
                  <a:lumOff val="25000"/>
                </a:schemeClr>
              </a:solidFill>
              <a:latin typeface="Montserrat" pitchFamily="2" charset="77"/>
            </a:endParaRPr>
          </a:p>
        </p:txBody>
      </p:sp>
      <p:pic>
        <p:nvPicPr>
          <p:cNvPr id="71" name="Graphique 70">
            <a:hlinkClick r:id="rId32" action="ppaction://hlinksldjump"/>
            <a:extLst>
              <a:ext uri="{FF2B5EF4-FFF2-40B4-BE49-F238E27FC236}">
                <a16:creationId xmlns:a16="http://schemas.microsoft.com/office/drawing/2014/main" id="{19E124F2-0E90-4756-BBFD-F502572D72F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7753153" y="1663037"/>
            <a:ext cx="532412" cy="425929"/>
          </a:xfrm>
          <a:prstGeom prst="rect">
            <a:avLst/>
          </a:prstGeom>
        </p:spPr>
      </p:pic>
      <p:sp>
        <p:nvSpPr>
          <p:cNvPr id="72" name="TextBox 54">
            <a:extLst>
              <a:ext uri="{FF2B5EF4-FFF2-40B4-BE49-F238E27FC236}">
                <a16:creationId xmlns:a16="http://schemas.microsoft.com/office/drawing/2014/main" id="{39721FBB-0238-4AD2-834D-0075D2D4A943}"/>
              </a:ext>
            </a:extLst>
          </p:cNvPr>
          <p:cNvSpPr txBox="1"/>
          <p:nvPr/>
        </p:nvSpPr>
        <p:spPr>
          <a:xfrm>
            <a:off x="7042147" y="2104288"/>
            <a:ext cx="2008884" cy="276999"/>
          </a:xfrm>
          <a:prstGeom prst="rect">
            <a:avLst/>
          </a:prstGeom>
          <a:noFill/>
        </p:spPr>
        <p:txBody>
          <a:bodyPr wrap="square" rtlCol="0">
            <a:spAutoFit/>
          </a:bodyPr>
          <a:lstStyle/>
          <a:p>
            <a:pPr algn="ctr"/>
            <a:r>
              <a:rPr lang="fr-FR" sz="1200" b="1" spc="300" dirty="0">
                <a:solidFill>
                  <a:schemeClr val="tx1">
                    <a:lumMod val="75000"/>
                    <a:lumOff val="25000"/>
                  </a:schemeClr>
                </a:solidFill>
                <a:latin typeface="Montserrat" pitchFamily="2" charset="77"/>
              </a:rPr>
              <a:t>Log</a:t>
            </a:r>
            <a:endParaRPr lang="en-LT" sz="1200" b="1" spc="300" dirty="0">
              <a:solidFill>
                <a:schemeClr val="tx1">
                  <a:lumMod val="75000"/>
                  <a:lumOff val="25000"/>
                </a:schemeClr>
              </a:solidFill>
              <a:latin typeface="Montserrat" pitchFamily="2" charset="77"/>
            </a:endParaRPr>
          </a:p>
        </p:txBody>
      </p:sp>
      <p:pic>
        <p:nvPicPr>
          <p:cNvPr id="77" name="Graphique 76">
            <a:hlinkClick r:id="rId35" action="ppaction://hlinksldjump"/>
            <a:extLst>
              <a:ext uri="{FF2B5EF4-FFF2-40B4-BE49-F238E27FC236}">
                <a16:creationId xmlns:a16="http://schemas.microsoft.com/office/drawing/2014/main" id="{0D58E55B-E958-4B94-AA0F-042AA0204C7B}"/>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5269688" y="1636654"/>
            <a:ext cx="465860" cy="532412"/>
          </a:xfrm>
          <a:prstGeom prst="rect">
            <a:avLst/>
          </a:prstGeom>
        </p:spPr>
      </p:pic>
      <p:sp>
        <p:nvSpPr>
          <p:cNvPr id="78" name="TextBox 54">
            <a:hlinkClick r:id="rId35" action="ppaction://hlinksldjump"/>
            <a:extLst>
              <a:ext uri="{FF2B5EF4-FFF2-40B4-BE49-F238E27FC236}">
                <a16:creationId xmlns:a16="http://schemas.microsoft.com/office/drawing/2014/main" id="{E459FF50-1BE5-42B1-8F25-E3FE84D9041F}"/>
              </a:ext>
            </a:extLst>
          </p:cNvPr>
          <p:cNvSpPr txBox="1"/>
          <p:nvPr/>
        </p:nvSpPr>
        <p:spPr>
          <a:xfrm>
            <a:off x="4479748" y="2148268"/>
            <a:ext cx="2008884" cy="276999"/>
          </a:xfrm>
          <a:prstGeom prst="rect">
            <a:avLst/>
          </a:prstGeom>
          <a:noFill/>
        </p:spPr>
        <p:txBody>
          <a:bodyPr wrap="square" rtlCol="0">
            <a:spAutoFit/>
          </a:bodyPr>
          <a:lstStyle/>
          <a:p>
            <a:pPr algn="ctr"/>
            <a:r>
              <a:rPr lang="fr-FR" sz="1200" b="1" spc="300" dirty="0" err="1">
                <a:solidFill>
                  <a:schemeClr val="tx1">
                    <a:lumMod val="75000"/>
                    <a:lumOff val="25000"/>
                  </a:schemeClr>
                </a:solidFill>
                <a:latin typeface="Montserrat" pitchFamily="2" charset="77"/>
              </a:rPr>
              <a:t>Add</a:t>
            </a:r>
            <a:endParaRPr lang="en-LT" sz="1200" b="1" spc="300" dirty="0">
              <a:solidFill>
                <a:schemeClr val="tx1">
                  <a:lumMod val="75000"/>
                  <a:lumOff val="25000"/>
                </a:schemeClr>
              </a:solidFill>
              <a:latin typeface="Montserrat" pitchFamily="2" charset="77"/>
            </a:endParaRPr>
          </a:p>
        </p:txBody>
      </p:sp>
      <p:pic>
        <p:nvPicPr>
          <p:cNvPr id="80" name="Graphique 79">
            <a:hlinkClick r:id="rId38" action="ppaction://hlinksldjump"/>
            <a:extLst>
              <a:ext uri="{FF2B5EF4-FFF2-40B4-BE49-F238E27FC236}">
                <a16:creationId xmlns:a16="http://schemas.microsoft.com/office/drawing/2014/main" id="{A78AD6F1-AAB2-45B3-AE75-3FF3C1BF0757}"/>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4481866" y="2614672"/>
            <a:ext cx="465860" cy="465860"/>
          </a:xfrm>
          <a:prstGeom prst="rect">
            <a:avLst/>
          </a:prstGeom>
        </p:spPr>
      </p:pic>
      <p:sp>
        <p:nvSpPr>
          <p:cNvPr id="81" name="TextBox 54">
            <a:hlinkClick r:id="rId38" action="ppaction://hlinksldjump"/>
            <a:extLst>
              <a:ext uri="{FF2B5EF4-FFF2-40B4-BE49-F238E27FC236}">
                <a16:creationId xmlns:a16="http://schemas.microsoft.com/office/drawing/2014/main" id="{06A50501-7E4B-4E43-AD9F-F16A3FB02017}"/>
              </a:ext>
            </a:extLst>
          </p:cNvPr>
          <p:cNvSpPr txBox="1"/>
          <p:nvPr/>
        </p:nvSpPr>
        <p:spPr>
          <a:xfrm>
            <a:off x="3719930" y="3064648"/>
            <a:ext cx="2008884" cy="276999"/>
          </a:xfrm>
          <a:prstGeom prst="rect">
            <a:avLst/>
          </a:prstGeom>
          <a:noFill/>
        </p:spPr>
        <p:txBody>
          <a:bodyPr wrap="square" rtlCol="0">
            <a:spAutoFit/>
          </a:bodyPr>
          <a:lstStyle/>
          <a:p>
            <a:pPr algn="ctr"/>
            <a:r>
              <a:rPr lang="fr-FR" sz="1200" b="1" spc="300" dirty="0">
                <a:solidFill>
                  <a:schemeClr val="tx1">
                    <a:lumMod val="75000"/>
                    <a:lumOff val="25000"/>
                  </a:schemeClr>
                </a:solidFill>
                <a:latin typeface="Montserrat" pitchFamily="2" charset="77"/>
              </a:rPr>
              <a:t>Clone</a:t>
            </a:r>
            <a:endParaRPr lang="en-LT" sz="1200" b="1" spc="300" dirty="0">
              <a:solidFill>
                <a:schemeClr val="tx1">
                  <a:lumMod val="75000"/>
                  <a:lumOff val="25000"/>
                </a:schemeClr>
              </a:solidFill>
              <a:latin typeface="Montserrat" pitchFamily="2" charset="77"/>
            </a:endParaRPr>
          </a:p>
        </p:txBody>
      </p:sp>
      <p:pic>
        <p:nvPicPr>
          <p:cNvPr id="83" name="Graphique 82">
            <a:hlinkClick r:id="rId41" action="ppaction://hlinksldjump"/>
            <a:extLst>
              <a:ext uri="{FF2B5EF4-FFF2-40B4-BE49-F238E27FC236}">
                <a16:creationId xmlns:a16="http://schemas.microsoft.com/office/drawing/2014/main" id="{4065A1DE-1ACC-4781-BB07-60DDD55D37B7}"/>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4166002" y="3787186"/>
            <a:ext cx="686188" cy="548950"/>
          </a:xfrm>
          <a:prstGeom prst="rect">
            <a:avLst/>
          </a:prstGeom>
        </p:spPr>
      </p:pic>
      <p:sp>
        <p:nvSpPr>
          <p:cNvPr id="84" name="TextBox 54">
            <a:extLst>
              <a:ext uri="{FF2B5EF4-FFF2-40B4-BE49-F238E27FC236}">
                <a16:creationId xmlns:a16="http://schemas.microsoft.com/office/drawing/2014/main" id="{2CA515BA-226B-4CF5-90D5-B1B109A34816}"/>
              </a:ext>
            </a:extLst>
          </p:cNvPr>
          <p:cNvSpPr txBox="1"/>
          <p:nvPr/>
        </p:nvSpPr>
        <p:spPr>
          <a:xfrm>
            <a:off x="3519761" y="4288854"/>
            <a:ext cx="2008884" cy="276999"/>
          </a:xfrm>
          <a:prstGeom prst="rect">
            <a:avLst/>
          </a:prstGeom>
          <a:noFill/>
        </p:spPr>
        <p:txBody>
          <a:bodyPr wrap="square" rtlCol="0">
            <a:spAutoFit/>
          </a:bodyPr>
          <a:lstStyle/>
          <a:p>
            <a:pPr algn="ctr"/>
            <a:r>
              <a:rPr lang="fr-FR" sz="1200" b="1" spc="300" dirty="0">
                <a:solidFill>
                  <a:schemeClr val="tx1">
                    <a:lumMod val="75000"/>
                    <a:lumOff val="25000"/>
                  </a:schemeClr>
                </a:solidFill>
                <a:latin typeface="Montserrat" pitchFamily="2" charset="77"/>
              </a:rPr>
              <a:t>Commit</a:t>
            </a:r>
            <a:endParaRPr lang="en-LT" sz="1200" b="1" spc="300" dirty="0">
              <a:solidFill>
                <a:schemeClr val="tx1">
                  <a:lumMod val="75000"/>
                  <a:lumOff val="25000"/>
                </a:schemeClr>
              </a:solidFill>
              <a:latin typeface="Montserrat" pitchFamily="2" charset="77"/>
            </a:endParaRPr>
          </a:p>
        </p:txBody>
      </p:sp>
      <p:pic>
        <p:nvPicPr>
          <p:cNvPr id="86" name="Graphique 85">
            <a:hlinkClick r:id="rId44" action="ppaction://hlinksldjump"/>
            <a:extLst>
              <a:ext uri="{FF2B5EF4-FFF2-40B4-BE49-F238E27FC236}">
                <a16:creationId xmlns:a16="http://schemas.microsoft.com/office/drawing/2014/main" id="{A4EC5815-3546-42F9-8B29-C760191AB4B6}"/>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4766073" y="5057480"/>
            <a:ext cx="425929" cy="425929"/>
          </a:xfrm>
          <a:prstGeom prst="rect">
            <a:avLst/>
          </a:prstGeom>
        </p:spPr>
      </p:pic>
      <p:sp>
        <p:nvSpPr>
          <p:cNvPr id="89" name="TextBox 54">
            <a:extLst>
              <a:ext uri="{FF2B5EF4-FFF2-40B4-BE49-F238E27FC236}">
                <a16:creationId xmlns:a16="http://schemas.microsoft.com/office/drawing/2014/main" id="{136AB229-6D9D-4B7E-9667-220AAE53471F}"/>
              </a:ext>
            </a:extLst>
          </p:cNvPr>
          <p:cNvSpPr txBox="1"/>
          <p:nvPr/>
        </p:nvSpPr>
        <p:spPr>
          <a:xfrm>
            <a:off x="3975064" y="5450636"/>
            <a:ext cx="2008884" cy="276999"/>
          </a:xfrm>
          <a:prstGeom prst="rect">
            <a:avLst/>
          </a:prstGeom>
          <a:noFill/>
        </p:spPr>
        <p:txBody>
          <a:bodyPr wrap="square" rtlCol="0">
            <a:spAutoFit/>
          </a:bodyPr>
          <a:lstStyle/>
          <a:p>
            <a:pPr algn="ctr"/>
            <a:r>
              <a:rPr lang="fr-FR" sz="1200" b="1" spc="300" dirty="0" err="1">
                <a:solidFill>
                  <a:schemeClr val="tx1">
                    <a:lumMod val="75000"/>
                    <a:lumOff val="25000"/>
                  </a:schemeClr>
                </a:solidFill>
                <a:latin typeface="Montserrat" pitchFamily="2" charset="77"/>
              </a:rPr>
              <a:t>Status</a:t>
            </a:r>
            <a:endParaRPr lang="en-LT" sz="1200" b="1" spc="300" dirty="0">
              <a:solidFill>
                <a:schemeClr val="tx1">
                  <a:lumMod val="75000"/>
                  <a:lumOff val="25000"/>
                </a:schemeClr>
              </a:solidFill>
              <a:latin typeface="Montserrat" pitchFamily="2" charset="77"/>
            </a:endParaRPr>
          </a:p>
        </p:txBody>
      </p:sp>
      <p:pic>
        <p:nvPicPr>
          <p:cNvPr id="90" name="Graphique 89">
            <a:hlinkClick r:id="rId47" action="ppaction://hlinksldjump"/>
            <a:extLst>
              <a:ext uri="{FF2B5EF4-FFF2-40B4-BE49-F238E27FC236}">
                <a16:creationId xmlns:a16="http://schemas.microsoft.com/office/drawing/2014/main" id="{E9DA9A38-C777-43E4-B643-2F8931297C7E}"/>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5780727" y="5815962"/>
            <a:ext cx="454105" cy="363284"/>
          </a:xfrm>
          <a:prstGeom prst="rect">
            <a:avLst/>
          </a:prstGeom>
        </p:spPr>
      </p:pic>
      <p:sp>
        <p:nvSpPr>
          <p:cNvPr id="92" name="TextBox 54">
            <a:extLst>
              <a:ext uri="{FF2B5EF4-FFF2-40B4-BE49-F238E27FC236}">
                <a16:creationId xmlns:a16="http://schemas.microsoft.com/office/drawing/2014/main" id="{68A7E8AA-3DA0-4DE9-AB47-0977FA9C0F32}"/>
              </a:ext>
            </a:extLst>
          </p:cNvPr>
          <p:cNvSpPr txBox="1"/>
          <p:nvPr/>
        </p:nvSpPr>
        <p:spPr>
          <a:xfrm>
            <a:off x="5030814" y="6176965"/>
            <a:ext cx="2008884" cy="276999"/>
          </a:xfrm>
          <a:prstGeom prst="rect">
            <a:avLst/>
          </a:prstGeom>
          <a:noFill/>
        </p:spPr>
        <p:txBody>
          <a:bodyPr wrap="square" rtlCol="0">
            <a:spAutoFit/>
          </a:bodyPr>
          <a:lstStyle/>
          <a:p>
            <a:pPr algn="ctr"/>
            <a:r>
              <a:rPr lang="fr-FR" sz="1200" b="1" spc="300" dirty="0">
                <a:solidFill>
                  <a:schemeClr val="tx1">
                    <a:lumMod val="75000"/>
                    <a:lumOff val="25000"/>
                  </a:schemeClr>
                </a:solidFill>
                <a:latin typeface="Montserrat" pitchFamily="2" charset="77"/>
              </a:rPr>
              <a:t>Push</a:t>
            </a:r>
          </a:p>
        </p:txBody>
      </p:sp>
      <p:pic>
        <p:nvPicPr>
          <p:cNvPr id="93" name="Graphique 92">
            <a:hlinkClick r:id="rId50" action="ppaction://hlinksldjump"/>
            <a:extLst>
              <a:ext uri="{FF2B5EF4-FFF2-40B4-BE49-F238E27FC236}">
                <a16:creationId xmlns:a16="http://schemas.microsoft.com/office/drawing/2014/main" id="{0A268440-2AD6-48A7-B7AC-63F4F29F9EB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7162126" y="5802314"/>
            <a:ext cx="377247" cy="377247"/>
          </a:xfrm>
          <a:prstGeom prst="rect">
            <a:avLst/>
          </a:prstGeom>
        </p:spPr>
      </p:pic>
      <p:sp>
        <p:nvSpPr>
          <p:cNvPr id="95" name="TextBox 54">
            <a:extLst>
              <a:ext uri="{FF2B5EF4-FFF2-40B4-BE49-F238E27FC236}">
                <a16:creationId xmlns:a16="http://schemas.microsoft.com/office/drawing/2014/main" id="{265FD789-0D4C-4129-856F-A25A2D775ACC}"/>
              </a:ext>
            </a:extLst>
          </p:cNvPr>
          <p:cNvSpPr txBox="1"/>
          <p:nvPr/>
        </p:nvSpPr>
        <p:spPr>
          <a:xfrm>
            <a:off x="6372831" y="6179245"/>
            <a:ext cx="2008884" cy="276999"/>
          </a:xfrm>
          <a:prstGeom prst="rect">
            <a:avLst/>
          </a:prstGeom>
          <a:noFill/>
        </p:spPr>
        <p:txBody>
          <a:bodyPr wrap="square" rtlCol="0">
            <a:spAutoFit/>
          </a:bodyPr>
          <a:lstStyle/>
          <a:p>
            <a:pPr algn="ctr"/>
            <a:r>
              <a:rPr lang="fr-FR" sz="1200" b="1" spc="300" dirty="0" err="1">
                <a:solidFill>
                  <a:schemeClr val="tx1">
                    <a:lumMod val="75000"/>
                    <a:lumOff val="25000"/>
                  </a:schemeClr>
                </a:solidFill>
                <a:latin typeface="Montserrat" pitchFamily="2" charset="77"/>
              </a:rPr>
              <a:t>Checkout</a:t>
            </a:r>
            <a:endParaRPr lang="fr-FR" sz="1200" b="1" spc="300" dirty="0">
              <a:solidFill>
                <a:schemeClr val="tx1">
                  <a:lumMod val="75000"/>
                  <a:lumOff val="25000"/>
                </a:schemeClr>
              </a:solidFill>
              <a:latin typeface="Montserrat" pitchFamily="2" charset="77"/>
            </a:endParaRPr>
          </a:p>
        </p:txBody>
      </p:sp>
      <p:pic>
        <p:nvPicPr>
          <p:cNvPr id="96" name="Graphique 95">
            <a:hlinkClick r:id="rId53" action="ppaction://hlinksldjump"/>
            <a:extLst>
              <a:ext uri="{FF2B5EF4-FFF2-40B4-BE49-F238E27FC236}">
                <a16:creationId xmlns:a16="http://schemas.microsoft.com/office/drawing/2014/main" id="{09F0439D-1E3A-40B5-B530-157CC2D05BE5}"/>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8648500" y="5101265"/>
            <a:ext cx="481777" cy="385421"/>
          </a:xfrm>
          <a:prstGeom prst="rect">
            <a:avLst/>
          </a:prstGeom>
        </p:spPr>
      </p:pic>
      <p:sp>
        <p:nvSpPr>
          <p:cNvPr id="98" name="TextBox 54">
            <a:extLst>
              <a:ext uri="{FF2B5EF4-FFF2-40B4-BE49-F238E27FC236}">
                <a16:creationId xmlns:a16="http://schemas.microsoft.com/office/drawing/2014/main" id="{125F80E6-D904-42AD-A69F-597F4AAD4954}"/>
              </a:ext>
            </a:extLst>
          </p:cNvPr>
          <p:cNvSpPr txBox="1"/>
          <p:nvPr/>
        </p:nvSpPr>
        <p:spPr>
          <a:xfrm>
            <a:off x="7877842" y="5495954"/>
            <a:ext cx="2008884" cy="276999"/>
          </a:xfrm>
          <a:prstGeom prst="rect">
            <a:avLst/>
          </a:prstGeom>
          <a:noFill/>
        </p:spPr>
        <p:txBody>
          <a:bodyPr wrap="square" rtlCol="0">
            <a:spAutoFit/>
          </a:bodyPr>
          <a:lstStyle/>
          <a:p>
            <a:pPr algn="ctr"/>
            <a:r>
              <a:rPr lang="fr-FR" sz="1200" b="1" spc="300" dirty="0" err="1">
                <a:solidFill>
                  <a:schemeClr val="tx1">
                    <a:lumMod val="75000"/>
                    <a:lumOff val="25000"/>
                  </a:schemeClr>
                </a:solidFill>
                <a:latin typeface="Montserrat" pitchFamily="2" charset="77"/>
              </a:rPr>
              <a:t>Remote</a:t>
            </a:r>
            <a:endParaRPr lang="fr-FR" sz="1200" b="1" spc="300" dirty="0">
              <a:solidFill>
                <a:schemeClr val="tx1">
                  <a:lumMod val="75000"/>
                  <a:lumOff val="25000"/>
                </a:schemeClr>
              </a:solidFill>
              <a:latin typeface="Montserrat" pitchFamily="2" charset="77"/>
            </a:endParaRPr>
          </a:p>
        </p:txBody>
      </p:sp>
      <p:pic>
        <p:nvPicPr>
          <p:cNvPr id="99" name="Graphique 98">
            <a:hlinkClick r:id="rId56" action="ppaction://hlinksldjump"/>
            <a:extLst>
              <a:ext uri="{FF2B5EF4-FFF2-40B4-BE49-F238E27FC236}">
                <a16:creationId xmlns:a16="http://schemas.microsoft.com/office/drawing/2014/main" id="{AEA07D75-703F-4043-96ED-AC228E5E0BDA}"/>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8779303" y="4018762"/>
            <a:ext cx="315955" cy="361093"/>
          </a:xfrm>
          <a:prstGeom prst="rect">
            <a:avLst/>
          </a:prstGeom>
        </p:spPr>
      </p:pic>
      <p:sp>
        <p:nvSpPr>
          <p:cNvPr id="101" name="TextBox 54">
            <a:extLst>
              <a:ext uri="{FF2B5EF4-FFF2-40B4-BE49-F238E27FC236}">
                <a16:creationId xmlns:a16="http://schemas.microsoft.com/office/drawing/2014/main" id="{2EC15077-4AAF-4A20-A844-F367D5E39FEB}"/>
              </a:ext>
            </a:extLst>
          </p:cNvPr>
          <p:cNvSpPr txBox="1"/>
          <p:nvPr/>
        </p:nvSpPr>
        <p:spPr>
          <a:xfrm>
            <a:off x="7917140" y="4347938"/>
            <a:ext cx="2008884" cy="276999"/>
          </a:xfrm>
          <a:prstGeom prst="rect">
            <a:avLst/>
          </a:prstGeom>
          <a:noFill/>
        </p:spPr>
        <p:txBody>
          <a:bodyPr wrap="square" rtlCol="0">
            <a:spAutoFit/>
          </a:bodyPr>
          <a:lstStyle/>
          <a:p>
            <a:pPr algn="ctr"/>
            <a:r>
              <a:rPr lang="fr-FR" sz="1200" b="1" spc="300" dirty="0">
                <a:solidFill>
                  <a:schemeClr val="tx1">
                    <a:lumMod val="75000"/>
                    <a:lumOff val="25000"/>
                  </a:schemeClr>
                </a:solidFill>
                <a:latin typeface="Montserrat" pitchFamily="2" charset="77"/>
              </a:rPr>
              <a:t>Branche </a:t>
            </a:r>
          </a:p>
        </p:txBody>
      </p:sp>
      <p:pic>
        <p:nvPicPr>
          <p:cNvPr id="102" name="Graphique 101">
            <a:hlinkClick r:id="rId59" action="ppaction://hlinksldjump"/>
            <a:extLst>
              <a:ext uri="{FF2B5EF4-FFF2-40B4-BE49-F238E27FC236}">
                <a16:creationId xmlns:a16="http://schemas.microsoft.com/office/drawing/2014/main" id="{34EE582B-5C4D-46EB-A1D6-9648215A3F15}"/>
              </a:ext>
            </a:extLst>
          </p:cNvPr>
          <p:cNvPicPr>
            <a:picLocks noChangeAspect="1"/>
          </p:cNvPicPr>
          <p:nvPr/>
        </p:nvPicPr>
        <p:blipFill>
          <a:blip r:embed="rId60">
            <a:extLst>
              <a:ext uri="{96DAC541-7B7A-43D3-8B79-37D633B846F1}">
                <asvg:svgBlip xmlns:asvg="http://schemas.microsoft.com/office/drawing/2016/SVG/main" r:embed="rId61"/>
              </a:ext>
            </a:extLst>
          </a:blip>
          <a:stretch>
            <a:fillRect/>
          </a:stretch>
        </p:blipFill>
        <p:spPr>
          <a:xfrm>
            <a:off x="8548258" y="2668034"/>
            <a:ext cx="425929" cy="425929"/>
          </a:xfrm>
          <a:prstGeom prst="rect">
            <a:avLst/>
          </a:prstGeom>
        </p:spPr>
      </p:pic>
      <p:sp>
        <p:nvSpPr>
          <p:cNvPr id="104" name="TextBox 54">
            <a:extLst>
              <a:ext uri="{FF2B5EF4-FFF2-40B4-BE49-F238E27FC236}">
                <a16:creationId xmlns:a16="http://schemas.microsoft.com/office/drawing/2014/main" id="{2AB4BBBC-CBDE-4E32-89B2-E93A94BFA41C}"/>
              </a:ext>
            </a:extLst>
          </p:cNvPr>
          <p:cNvSpPr txBox="1"/>
          <p:nvPr/>
        </p:nvSpPr>
        <p:spPr>
          <a:xfrm>
            <a:off x="7753153" y="3116744"/>
            <a:ext cx="2008884" cy="276999"/>
          </a:xfrm>
          <a:prstGeom prst="rect">
            <a:avLst/>
          </a:prstGeom>
          <a:noFill/>
        </p:spPr>
        <p:txBody>
          <a:bodyPr wrap="square" rtlCol="0">
            <a:spAutoFit/>
          </a:bodyPr>
          <a:lstStyle/>
          <a:p>
            <a:pPr algn="ctr"/>
            <a:r>
              <a:rPr lang="fr-FR" sz="1200" b="1" spc="300" dirty="0">
                <a:solidFill>
                  <a:schemeClr val="tx1">
                    <a:lumMod val="75000"/>
                    <a:lumOff val="25000"/>
                  </a:schemeClr>
                </a:solidFill>
                <a:latin typeface="Montserrat" pitchFamily="2" charset="77"/>
              </a:rPr>
              <a:t>Pull</a:t>
            </a:r>
            <a:endParaRPr lang="en-LT" sz="1200" b="1" spc="300" dirty="0">
              <a:solidFill>
                <a:schemeClr val="tx1">
                  <a:lumMod val="75000"/>
                  <a:lumOff val="25000"/>
                </a:schemeClr>
              </a:solidFill>
              <a:latin typeface="Montserrat" pitchFamily="2" charset="77"/>
            </a:endParaRPr>
          </a:p>
        </p:txBody>
      </p:sp>
    </p:spTree>
    <p:extLst>
      <p:ext uri="{BB962C8B-B14F-4D97-AF65-F5344CB8AC3E}">
        <p14:creationId xmlns:p14="http://schemas.microsoft.com/office/powerpoint/2010/main" val="24343728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73A4D"/>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92D37F93-39B0-4F4E-BEF6-CD19B2F25EFC}"/>
              </a:ext>
            </a:extLst>
          </p:cNvPr>
          <p:cNvGrpSpPr/>
          <p:nvPr/>
        </p:nvGrpSpPr>
        <p:grpSpPr>
          <a:xfrm>
            <a:off x="-842559" y="494367"/>
            <a:ext cx="827568" cy="828000"/>
            <a:chOff x="-842559" y="468160"/>
            <a:chExt cx="827568" cy="828000"/>
          </a:xfrm>
        </p:grpSpPr>
        <p:sp>
          <p:nvSpPr>
            <p:cNvPr id="26" name="Oval 25">
              <a:extLst>
                <a:ext uri="{FF2B5EF4-FFF2-40B4-BE49-F238E27FC236}">
                  <a16:creationId xmlns:a16="http://schemas.microsoft.com/office/drawing/2014/main" id="{714A7735-60E6-5A45-A4B5-47F34D8DE53E}"/>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27" name="Graphic 26" descr="Point d’exclamation">
              <a:hlinkClick r:id="rId3" action="ppaction://hlinksldjump"/>
              <a:extLst>
                <a:ext uri="{FF2B5EF4-FFF2-40B4-BE49-F238E27FC236}">
                  <a16:creationId xmlns:a16="http://schemas.microsoft.com/office/drawing/2014/main" id="{ABC37FC0-01B6-724C-9974-E641A2CDB0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0293" y="530642"/>
              <a:ext cx="703036" cy="703036"/>
            </a:xfrm>
            <a:prstGeom prst="rect">
              <a:avLst/>
            </a:prstGeom>
          </p:spPr>
        </p:pic>
      </p:grpSp>
      <p:grpSp>
        <p:nvGrpSpPr>
          <p:cNvPr id="34" name="Group 33">
            <a:extLst>
              <a:ext uri="{FF2B5EF4-FFF2-40B4-BE49-F238E27FC236}">
                <a16:creationId xmlns:a16="http://schemas.microsoft.com/office/drawing/2014/main" id="{74DDCBC1-263E-6046-B918-E716B0BA21A0}"/>
              </a:ext>
            </a:extLst>
          </p:cNvPr>
          <p:cNvGrpSpPr/>
          <p:nvPr/>
        </p:nvGrpSpPr>
        <p:grpSpPr>
          <a:xfrm>
            <a:off x="866458" y="5561840"/>
            <a:ext cx="827568" cy="828000"/>
            <a:chOff x="-842559" y="5561839"/>
            <a:chExt cx="827568" cy="828000"/>
          </a:xfrm>
        </p:grpSpPr>
        <p:sp>
          <p:nvSpPr>
            <p:cNvPr id="35" name="Oval 34">
              <a:extLst>
                <a:ext uri="{FF2B5EF4-FFF2-40B4-BE49-F238E27FC236}">
                  <a16:creationId xmlns:a16="http://schemas.microsoft.com/office/drawing/2014/main" id="{9885C5E1-EA20-F948-94E2-D0509EDD803E}"/>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6" name="Graphic 35" descr="Users">
              <a:extLst>
                <a:ext uri="{FF2B5EF4-FFF2-40B4-BE49-F238E27FC236}">
                  <a16:creationId xmlns:a16="http://schemas.microsoft.com/office/drawing/2014/main" id="{216C4879-5CCC-A24F-9805-D98864A383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7564" y="5614879"/>
              <a:ext cx="721920" cy="721920"/>
            </a:xfrm>
            <a:prstGeom prst="rect">
              <a:avLst/>
            </a:prstGeom>
          </p:spPr>
        </p:pic>
      </p:grpSp>
      <p:sp>
        <p:nvSpPr>
          <p:cNvPr id="40" name="Freeform 39">
            <a:extLst>
              <a:ext uri="{FF2B5EF4-FFF2-40B4-BE49-F238E27FC236}">
                <a16:creationId xmlns:a16="http://schemas.microsoft.com/office/drawing/2014/main" id="{098E8DDA-9A8C-484E-8557-66FEB1E316C9}"/>
              </a:ext>
            </a:extLst>
          </p:cNvPr>
          <p:cNvSpPr/>
          <p:nvPr/>
        </p:nvSpPr>
        <p:spPr>
          <a:xfrm>
            <a:off x="0" y="-5987562"/>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41" name="Graphic 40" descr="Point d’exclamation">
            <a:hlinkClick r:id="rId3" action="ppaction://hlinksldjump"/>
            <a:extLst>
              <a:ext uri="{FF2B5EF4-FFF2-40B4-BE49-F238E27FC236}">
                <a16:creationId xmlns:a16="http://schemas.microsoft.com/office/drawing/2014/main" id="{C312EB5C-7071-F74A-BF1D-1BD63290B4F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7756" y="530641"/>
            <a:ext cx="703036" cy="703036"/>
          </a:xfrm>
          <a:prstGeom prst="rect">
            <a:avLst/>
          </a:prstGeom>
        </p:spPr>
      </p:pic>
      <p:pic>
        <p:nvPicPr>
          <p:cNvPr id="45" name="Graphic 44" descr="Users">
            <a:hlinkClick r:id="rId10" action="ppaction://hlinksldjump"/>
            <a:extLst>
              <a:ext uri="{FF2B5EF4-FFF2-40B4-BE49-F238E27FC236}">
                <a16:creationId xmlns:a16="http://schemas.microsoft.com/office/drawing/2014/main" id="{923E9E60-3788-D043-B41E-90194CA0681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0485" y="5614878"/>
            <a:ext cx="721920" cy="721920"/>
          </a:xfrm>
          <a:prstGeom prst="rect">
            <a:avLst/>
          </a:prstGeom>
        </p:spPr>
      </p:pic>
      <p:sp>
        <p:nvSpPr>
          <p:cNvPr id="46" name="TextBox 45">
            <a:extLst>
              <a:ext uri="{FF2B5EF4-FFF2-40B4-BE49-F238E27FC236}">
                <a16:creationId xmlns:a16="http://schemas.microsoft.com/office/drawing/2014/main" id="{A80FFA9C-035D-F84E-B5F9-5FBEB4EA6E50}"/>
              </a:ext>
            </a:extLst>
          </p:cNvPr>
          <p:cNvSpPr txBox="1"/>
          <p:nvPr/>
        </p:nvSpPr>
        <p:spPr>
          <a:xfrm>
            <a:off x="4564319" y="583080"/>
            <a:ext cx="3706463" cy="584775"/>
          </a:xfrm>
          <a:prstGeom prst="rect">
            <a:avLst/>
          </a:prstGeom>
          <a:noFill/>
        </p:spPr>
        <p:txBody>
          <a:bodyPr wrap="none" rtlCol="0">
            <a:spAutoFit/>
          </a:bodyPr>
          <a:lstStyle/>
          <a:p>
            <a:pPr algn="ctr"/>
            <a:r>
              <a:rPr lang="fr-FR" sz="3200" b="1" spc="300" dirty="0">
                <a:solidFill>
                  <a:schemeClr val="bg1"/>
                </a:solidFill>
                <a:latin typeface="Montserrat" pitchFamily="2" charset="77"/>
              </a:rPr>
              <a:t>GIT &amp; DEVOPS</a:t>
            </a:r>
            <a:endParaRPr lang="en-LT" sz="3200" b="1" spc="300" dirty="0">
              <a:solidFill>
                <a:schemeClr val="bg1"/>
              </a:solidFill>
              <a:latin typeface="Montserrat" pitchFamily="2" charset="77"/>
            </a:endParaRPr>
          </a:p>
        </p:txBody>
      </p:sp>
      <p:sp>
        <p:nvSpPr>
          <p:cNvPr id="47" name="TextBox 46">
            <a:hlinkClick r:id="rId13" action="ppaction://hlinksldjump"/>
            <a:extLst>
              <a:ext uri="{FF2B5EF4-FFF2-40B4-BE49-F238E27FC236}">
                <a16:creationId xmlns:a16="http://schemas.microsoft.com/office/drawing/2014/main" id="{E259193F-82B7-F942-B129-9A334DC7FC6C}"/>
              </a:ext>
            </a:extLst>
          </p:cNvPr>
          <p:cNvSpPr txBox="1"/>
          <p:nvPr/>
        </p:nvSpPr>
        <p:spPr>
          <a:xfrm>
            <a:off x="1975355" y="3411578"/>
            <a:ext cx="1952774" cy="707886"/>
          </a:xfrm>
          <a:prstGeom prst="rect">
            <a:avLst/>
          </a:prstGeom>
          <a:noFill/>
        </p:spPr>
        <p:txBody>
          <a:bodyPr wrap="square" rtlCol="0">
            <a:spAutoFit/>
          </a:bodyPr>
          <a:lstStyle/>
          <a:p>
            <a:pPr algn="ctr"/>
            <a:r>
              <a:rPr lang="fr-FR" sz="2000" b="1" spc="300" dirty="0">
                <a:solidFill>
                  <a:schemeClr val="bg1"/>
                </a:solidFill>
                <a:latin typeface="Montserrat" pitchFamily="2" charset="77"/>
              </a:rPr>
              <a:t>MANUEL</a:t>
            </a:r>
          </a:p>
          <a:p>
            <a:pPr algn="ctr"/>
            <a:r>
              <a:rPr lang="fr-FR" sz="2000" b="1" spc="300" dirty="0">
                <a:solidFill>
                  <a:schemeClr val="bg1"/>
                </a:solidFill>
                <a:latin typeface="Montserrat" pitchFamily="2" charset="77"/>
              </a:rPr>
              <a:t>&amp;CI/CD</a:t>
            </a:r>
            <a:endParaRPr lang="en-LT" sz="2000" b="1" spc="300" dirty="0">
              <a:solidFill>
                <a:schemeClr val="bg1"/>
              </a:solidFill>
              <a:latin typeface="Montserrat" pitchFamily="2" charset="77"/>
            </a:endParaRPr>
          </a:p>
        </p:txBody>
      </p:sp>
      <p:sp>
        <p:nvSpPr>
          <p:cNvPr id="51" name="TextBox 50">
            <a:hlinkClick r:id="rId14" action="ppaction://hlinksldjump"/>
            <a:extLst>
              <a:ext uri="{FF2B5EF4-FFF2-40B4-BE49-F238E27FC236}">
                <a16:creationId xmlns:a16="http://schemas.microsoft.com/office/drawing/2014/main" id="{2726CC9E-7366-104E-ADB1-8ABEA7CD4B6A}"/>
              </a:ext>
            </a:extLst>
          </p:cNvPr>
          <p:cNvSpPr txBox="1"/>
          <p:nvPr/>
        </p:nvSpPr>
        <p:spPr>
          <a:xfrm>
            <a:off x="8987165" y="3725409"/>
            <a:ext cx="1739580" cy="400110"/>
          </a:xfrm>
          <a:prstGeom prst="rect">
            <a:avLst/>
          </a:prstGeom>
          <a:noFill/>
        </p:spPr>
        <p:txBody>
          <a:bodyPr wrap="none" rtlCol="0">
            <a:spAutoFit/>
          </a:bodyPr>
          <a:lstStyle/>
          <a:p>
            <a:pPr algn="ctr"/>
            <a:r>
              <a:rPr lang="fr-FR" sz="2000" b="1" spc="300" dirty="0">
                <a:solidFill>
                  <a:schemeClr val="bg1"/>
                </a:solidFill>
                <a:latin typeface="Montserrat" pitchFamily="2" charset="77"/>
              </a:rPr>
              <a:t>EXEMPLE</a:t>
            </a:r>
            <a:endParaRPr lang="en-LT" sz="2000" b="1" spc="300" dirty="0">
              <a:solidFill>
                <a:schemeClr val="bg1"/>
              </a:solidFill>
              <a:latin typeface="Montserrat" pitchFamily="2" charset="77"/>
            </a:endParaRPr>
          </a:p>
        </p:txBody>
      </p:sp>
      <p:grpSp>
        <p:nvGrpSpPr>
          <p:cNvPr id="58" name="Graphic 43">
            <a:extLst>
              <a:ext uri="{FF2B5EF4-FFF2-40B4-BE49-F238E27FC236}">
                <a16:creationId xmlns:a16="http://schemas.microsoft.com/office/drawing/2014/main" id="{7800A4E2-2763-B04F-A6DC-7F830C714D7F}"/>
              </a:ext>
            </a:extLst>
          </p:cNvPr>
          <p:cNvGrpSpPr/>
          <p:nvPr/>
        </p:nvGrpSpPr>
        <p:grpSpPr>
          <a:xfrm rot="2571606" flipV="1">
            <a:off x="7365627" y="3059203"/>
            <a:ext cx="1356455" cy="777212"/>
            <a:chOff x="5270499" y="2952750"/>
            <a:chExt cx="1652160" cy="946643"/>
          </a:xfrm>
          <a:solidFill>
            <a:schemeClr val="bg1"/>
          </a:solidFill>
        </p:grpSpPr>
        <p:sp>
          <p:nvSpPr>
            <p:cNvPr id="59" name="Freeform 58">
              <a:extLst>
                <a:ext uri="{FF2B5EF4-FFF2-40B4-BE49-F238E27FC236}">
                  <a16:creationId xmlns:a16="http://schemas.microsoft.com/office/drawing/2014/main" id="{3CFBA856-77EC-2543-8A7C-7290423B49DE}"/>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0" name="Freeform 59">
              <a:extLst>
                <a:ext uri="{FF2B5EF4-FFF2-40B4-BE49-F238E27FC236}">
                  <a16:creationId xmlns:a16="http://schemas.microsoft.com/office/drawing/2014/main" id="{5D33443B-894D-8143-B7F7-AE83C877A1CD}"/>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4" name="Graphic 43">
            <a:extLst>
              <a:ext uri="{FF2B5EF4-FFF2-40B4-BE49-F238E27FC236}">
                <a16:creationId xmlns:a16="http://schemas.microsoft.com/office/drawing/2014/main" id="{87BDF1B6-9F31-524F-B247-79746579CB6F}"/>
              </a:ext>
            </a:extLst>
          </p:cNvPr>
          <p:cNvGrpSpPr/>
          <p:nvPr/>
        </p:nvGrpSpPr>
        <p:grpSpPr>
          <a:xfrm rot="19028394" flipH="1" flipV="1">
            <a:off x="3885021" y="3182389"/>
            <a:ext cx="1356455" cy="777212"/>
            <a:chOff x="5270499" y="2952750"/>
            <a:chExt cx="1652160" cy="946643"/>
          </a:xfrm>
          <a:solidFill>
            <a:schemeClr val="bg1"/>
          </a:solidFill>
        </p:grpSpPr>
        <p:sp>
          <p:nvSpPr>
            <p:cNvPr id="65" name="Freeform 64">
              <a:extLst>
                <a:ext uri="{FF2B5EF4-FFF2-40B4-BE49-F238E27FC236}">
                  <a16:creationId xmlns:a16="http://schemas.microsoft.com/office/drawing/2014/main" id="{94B2EE84-0993-3848-AB9F-03C9E33F88CE}"/>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6" name="Freeform 65">
              <a:extLst>
                <a:ext uri="{FF2B5EF4-FFF2-40B4-BE49-F238E27FC236}">
                  <a16:creationId xmlns:a16="http://schemas.microsoft.com/office/drawing/2014/main" id="{5E3B0ED9-6FF2-974A-9C7A-30C12D028EF6}"/>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67" name="Graphic 66">
            <a:extLst>
              <a:ext uri="{FF2B5EF4-FFF2-40B4-BE49-F238E27FC236}">
                <a16:creationId xmlns:a16="http://schemas.microsoft.com/office/drawing/2014/main" id="{9902A311-F44C-D641-A96E-FB81AF4E2EC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21540000">
            <a:off x="5144595" y="1103980"/>
            <a:ext cx="2565887" cy="134841"/>
          </a:xfrm>
          <a:prstGeom prst="rect">
            <a:avLst/>
          </a:prstGeom>
        </p:spPr>
      </p:pic>
      <p:grpSp>
        <p:nvGrpSpPr>
          <p:cNvPr id="68" name="!!lamp">
            <a:extLst>
              <a:ext uri="{FF2B5EF4-FFF2-40B4-BE49-F238E27FC236}">
                <a16:creationId xmlns:a16="http://schemas.microsoft.com/office/drawing/2014/main" id="{C68A2851-622D-B540-B9E6-39AFCA9DC039}"/>
              </a:ext>
            </a:extLst>
          </p:cNvPr>
          <p:cNvGrpSpPr/>
          <p:nvPr/>
        </p:nvGrpSpPr>
        <p:grpSpPr>
          <a:xfrm>
            <a:off x="5016550" y="1928671"/>
            <a:ext cx="2487463" cy="3024801"/>
            <a:chOff x="5016550" y="1928671"/>
            <a:chExt cx="2487463" cy="3024801"/>
          </a:xfrm>
        </p:grpSpPr>
        <p:grpSp>
          <p:nvGrpSpPr>
            <p:cNvPr id="69" name="Group 68">
              <a:extLst>
                <a:ext uri="{FF2B5EF4-FFF2-40B4-BE49-F238E27FC236}">
                  <a16:creationId xmlns:a16="http://schemas.microsoft.com/office/drawing/2014/main" id="{B10E5ABD-F670-F54E-AFB1-E4FB0DB2716C}"/>
                </a:ext>
              </a:extLst>
            </p:cNvPr>
            <p:cNvGrpSpPr/>
            <p:nvPr/>
          </p:nvGrpSpPr>
          <p:grpSpPr>
            <a:xfrm>
              <a:off x="6331255" y="2054460"/>
              <a:ext cx="1172758" cy="2760218"/>
              <a:chOff x="6136179" y="2021920"/>
              <a:chExt cx="1063696" cy="2503528"/>
            </a:xfrm>
          </p:grpSpPr>
          <p:sp>
            <p:nvSpPr>
              <p:cNvPr id="131" name="Freeform 130">
                <a:extLst>
                  <a:ext uri="{FF2B5EF4-FFF2-40B4-BE49-F238E27FC236}">
                    <a16:creationId xmlns:a16="http://schemas.microsoft.com/office/drawing/2014/main" id="{13C4FBBC-8D46-B649-80D2-59E2F89B41BC}"/>
                  </a:ext>
                </a:extLst>
              </p:cNvPr>
              <p:cNvSpPr/>
              <p:nvPr/>
            </p:nvSpPr>
            <p:spPr>
              <a:xfrm>
                <a:off x="6220308" y="2674119"/>
                <a:ext cx="194530" cy="512316"/>
              </a:xfrm>
              <a:custGeom>
                <a:avLst/>
                <a:gdLst>
                  <a:gd name="connsiteX0" fmla="*/ 70802 w 71393"/>
                  <a:gd name="connsiteY0" fmla="*/ 138873 h 188021"/>
                  <a:gd name="connsiteX1" fmla="*/ 64456 w 71393"/>
                  <a:gd name="connsiteY1" fmla="*/ 87599 h 188021"/>
                  <a:gd name="connsiteX2" fmla="*/ 47485 w 71393"/>
                  <a:gd name="connsiteY2" fmla="*/ -12 h 188021"/>
                  <a:gd name="connsiteX3" fmla="*/ 47485 w 71393"/>
                  <a:gd name="connsiteY3" fmla="*/ 12797 h 188021"/>
                  <a:gd name="connsiteX4" fmla="*/ 46433 w 71393"/>
                  <a:gd name="connsiteY4" fmla="*/ 4254 h 188021"/>
                  <a:gd name="connsiteX5" fmla="*/ 26279 w 71393"/>
                  <a:gd name="connsiteY5" fmla="*/ 30960 h 188021"/>
                  <a:gd name="connsiteX6" fmla="*/ 24158 w 71393"/>
                  <a:gd name="connsiteY6" fmla="*/ 27772 h 188021"/>
                  <a:gd name="connsiteX7" fmla="*/ -220 w 71393"/>
                  <a:gd name="connsiteY7" fmla="*/ 100408 h 188021"/>
                  <a:gd name="connsiteX8" fmla="*/ 50657 w 71393"/>
                  <a:gd name="connsiteY8" fmla="*/ 188009 h 188021"/>
                  <a:gd name="connsiteX9" fmla="*/ 70802 w 71393"/>
                  <a:gd name="connsiteY9" fmla="*/ 138873 h 18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93" h="188021">
                    <a:moveTo>
                      <a:pt x="70802" y="138873"/>
                    </a:moveTo>
                    <a:cubicBezTo>
                      <a:pt x="72548" y="123699"/>
                      <a:pt x="67760" y="104126"/>
                      <a:pt x="64456" y="87599"/>
                    </a:cubicBezTo>
                    <a:cubicBezTo>
                      <a:pt x="58655" y="58792"/>
                      <a:pt x="51136" y="31178"/>
                      <a:pt x="47485" y="-12"/>
                    </a:cubicBezTo>
                    <a:cubicBezTo>
                      <a:pt x="46001" y="5087"/>
                      <a:pt x="50169" y="10025"/>
                      <a:pt x="47485" y="12797"/>
                    </a:cubicBezTo>
                    <a:cubicBezTo>
                      <a:pt x="47710" y="9372"/>
                      <a:pt x="45617" y="8275"/>
                      <a:pt x="46433" y="4254"/>
                    </a:cubicBezTo>
                    <a:cubicBezTo>
                      <a:pt x="36943" y="10356"/>
                      <a:pt x="32390" y="21443"/>
                      <a:pt x="26279" y="30960"/>
                    </a:cubicBezTo>
                    <a:cubicBezTo>
                      <a:pt x="26176" y="29305"/>
                      <a:pt x="26420" y="27271"/>
                      <a:pt x="24158" y="27772"/>
                    </a:cubicBezTo>
                    <a:cubicBezTo>
                      <a:pt x="23088" y="59067"/>
                      <a:pt x="2624" y="70873"/>
                      <a:pt x="-220" y="100408"/>
                    </a:cubicBezTo>
                    <a:cubicBezTo>
                      <a:pt x="16198" y="130141"/>
                      <a:pt x="34906" y="157595"/>
                      <a:pt x="50657" y="188009"/>
                    </a:cubicBezTo>
                    <a:cubicBezTo>
                      <a:pt x="50545" y="167471"/>
                      <a:pt x="68690" y="157235"/>
                      <a:pt x="70802" y="138873"/>
                    </a:cubicBezTo>
                    <a:close/>
                  </a:path>
                </a:pathLst>
              </a:custGeom>
              <a:solidFill>
                <a:schemeClr val="bg1"/>
              </a:solidFill>
              <a:ln w="9318" cap="flat">
                <a:noFill/>
                <a:prstDash val="solid"/>
                <a:round/>
              </a:ln>
            </p:spPr>
            <p:txBody>
              <a:bodyPr rtlCol="0" anchor="ctr"/>
              <a:lstStyle/>
              <a:p>
                <a:endParaRPr lang="en-LT"/>
              </a:p>
            </p:txBody>
          </p:sp>
          <p:sp>
            <p:nvSpPr>
              <p:cNvPr id="132" name="Freeform 131">
                <a:extLst>
                  <a:ext uri="{FF2B5EF4-FFF2-40B4-BE49-F238E27FC236}">
                    <a16:creationId xmlns:a16="http://schemas.microsoft.com/office/drawing/2014/main" id="{F198F7D3-9892-1140-9DEF-BCE2D2D1CA59}"/>
                  </a:ext>
                </a:extLst>
              </p:cNvPr>
              <p:cNvSpPr/>
              <p:nvPr/>
            </p:nvSpPr>
            <p:spPr>
              <a:xfrm>
                <a:off x="6405359" y="3212650"/>
                <a:ext cx="10169" cy="72741"/>
              </a:xfrm>
              <a:custGeom>
                <a:avLst/>
                <a:gdLst>
                  <a:gd name="connsiteX0" fmla="*/ 776 w 3732"/>
                  <a:gd name="connsiteY0" fmla="*/ 26684 h 26696"/>
                  <a:gd name="connsiteX1" fmla="*/ 2888 w 3732"/>
                  <a:gd name="connsiteY1" fmla="*/ -12 h 26696"/>
                  <a:gd name="connsiteX2" fmla="*/ 776 w 3732"/>
                  <a:gd name="connsiteY2" fmla="*/ 26684 h 26696"/>
                </a:gdLst>
                <a:ahLst/>
                <a:cxnLst>
                  <a:cxn ang="0">
                    <a:pos x="connsiteX0" y="connsiteY0"/>
                  </a:cxn>
                  <a:cxn ang="0">
                    <a:pos x="connsiteX1" y="connsiteY1"/>
                  </a:cxn>
                  <a:cxn ang="0">
                    <a:pos x="connsiteX2" y="connsiteY2"/>
                  </a:cxn>
                </a:cxnLst>
                <a:rect l="l" t="t" r="r" b="b"/>
                <a:pathLst>
                  <a:path w="3732" h="26696">
                    <a:moveTo>
                      <a:pt x="776" y="26684"/>
                    </a:moveTo>
                    <a:cubicBezTo>
                      <a:pt x="851" y="17839"/>
                      <a:pt x="5066" y="7528"/>
                      <a:pt x="2888" y="-12"/>
                    </a:cubicBezTo>
                    <a:cubicBezTo>
                      <a:pt x="2391" y="8379"/>
                      <a:pt x="-2199" y="18322"/>
                      <a:pt x="776" y="26684"/>
                    </a:cubicBezTo>
                    <a:close/>
                  </a:path>
                </a:pathLst>
              </a:custGeom>
              <a:solidFill>
                <a:schemeClr val="bg1"/>
              </a:solidFill>
              <a:ln w="9318" cap="flat">
                <a:noFill/>
                <a:prstDash val="solid"/>
                <a:round/>
              </a:ln>
            </p:spPr>
            <p:txBody>
              <a:bodyPr rtlCol="0" anchor="ctr"/>
              <a:lstStyle/>
              <a:p>
                <a:endParaRPr lang="en-LT"/>
              </a:p>
            </p:txBody>
          </p:sp>
          <p:sp>
            <p:nvSpPr>
              <p:cNvPr id="133" name="Freeform 132">
                <a:extLst>
                  <a:ext uri="{FF2B5EF4-FFF2-40B4-BE49-F238E27FC236}">
                    <a16:creationId xmlns:a16="http://schemas.microsoft.com/office/drawing/2014/main" id="{7A18A0D2-6C4F-2F4E-BB93-EAAEF0B689B6}"/>
                  </a:ext>
                </a:extLst>
              </p:cNvPr>
              <p:cNvSpPr/>
              <p:nvPr/>
            </p:nvSpPr>
            <p:spPr>
              <a:xfrm>
                <a:off x="6419609" y="3110765"/>
                <a:ext cx="219503" cy="47567"/>
              </a:xfrm>
              <a:custGeom>
                <a:avLst/>
                <a:gdLst>
                  <a:gd name="connsiteX0" fmla="*/ 54910 w 80558"/>
                  <a:gd name="connsiteY0" fmla="*/ 6389 h 17457"/>
                  <a:gd name="connsiteX1" fmla="*/ 59134 w 80558"/>
                  <a:gd name="connsiteY1" fmla="*/ 7458 h 17457"/>
                  <a:gd name="connsiteX2" fmla="*/ 54910 w 80558"/>
                  <a:gd name="connsiteY2" fmla="*/ 7458 h 17457"/>
                  <a:gd name="connsiteX3" fmla="*/ 33695 w 80558"/>
                  <a:gd name="connsiteY3" fmla="*/ 9596 h 17457"/>
                  <a:gd name="connsiteX4" fmla="*/ 31583 w 80558"/>
                  <a:gd name="connsiteY4" fmla="*/ 7458 h 17457"/>
                  <a:gd name="connsiteX5" fmla="*/ 54910 w 80558"/>
                  <a:gd name="connsiteY5" fmla="*/ 6389 h 17457"/>
                  <a:gd name="connsiteX6" fmla="*/ 16733 w 80558"/>
                  <a:gd name="connsiteY6" fmla="*/ 17069 h 17457"/>
                  <a:gd name="connsiteX7" fmla="*/ 17794 w 80558"/>
                  <a:gd name="connsiteY7" fmla="*/ 11734 h 17457"/>
                  <a:gd name="connsiteX8" fmla="*/ 80339 w 80558"/>
                  <a:gd name="connsiteY8" fmla="*/ 2122 h 17457"/>
                  <a:gd name="connsiteX9" fmla="*/ 8266 w 80558"/>
                  <a:gd name="connsiteY9" fmla="*/ 1053 h 17457"/>
                  <a:gd name="connsiteX10" fmla="*/ 8266 w 80558"/>
                  <a:gd name="connsiteY10" fmla="*/ 2122 h 17457"/>
                  <a:gd name="connsiteX11" fmla="*/ 30503 w 80558"/>
                  <a:gd name="connsiteY11" fmla="*/ 5329 h 17457"/>
                  <a:gd name="connsiteX12" fmla="*/ 30503 w 80558"/>
                  <a:gd name="connsiteY12" fmla="*/ 9596 h 17457"/>
                  <a:gd name="connsiteX13" fmla="*/ 14621 w 80558"/>
                  <a:gd name="connsiteY13" fmla="*/ 6389 h 17457"/>
                  <a:gd name="connsiteX14" fmla="*/ -220 w 80558"/>
                  <a:gd name="connsiteY14" fmla="*/ 7458 h 17457"/>
                  <a:gd name="connsiteX15" fmla="*/ 11439 w 80558"/>
                  <a:gd name="connsiteY15" fmla="*/ 11734 h 17457"/>
                  <a:gd name="connsiteX16" fmla="*/ 16733 w 80558"/>
                  <a:gd name="connsiteY16" fmla="*/ 17069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558" h="17457">
                    <a:moveTo>
                      <a:pt x="54910" y="6389"/>
                    </a:moveTo>
                    <a:cubicBezTo>
                      <a:pt x="56580" y="6483"/>
                      <a:pt x="58927" y="5878"/>
                      <a:pt x="59134" y="7458"/>
                    </a:cubicBezTo>
                    <a:lnTo>
                      <a:pt x="54910" y="7458"/>
                    </a:lnTo>
                    <a:cubicBezTo>
                      <a:pt x="49503" y="9870"/>
                      <a:pt x="38839" y="6947"/>
                      <a:pt x="33695" y="9596"/>
                    </a:cubicBezTo>
                    <a:cubicBezTo>
                      <a:pt x="32766" y="9113"/>
                      <a:pt x="31818" y="8650"/>
                      <a:pt x="31583" y="7458"/>
                    </a:cubicBezTo>
                    <a:cubicBezTo>
                      <a:pt x="36352" y="1867"/>
                      <a:pt x="46630" y="8432"/>
                      <a:pt x="54910" y="6389"/>
                    </a:cubicBezTo>
                    <a:close/>
                    <a:moveTo>
                      <a:pt x="16733" y="17069"/>
                    </a:moveTo>
                    <a:cubicBezTo>
                      <a:pt x="20262" y="16729"/>
                      <a:pt x="13945" y="12405"/>
                      <a:pt x="17794" y="11734"/>
                    </a:cubicBezTo>
                    <a:cubicBezTo>
                      <a:pt x="42491" y="12405"/>
                      <a:pt x="62992" y="8848"/>
                      <a:pt x="80339" y="2122"/>
                    </a:cubicBezTo>
                    <a:cubicBezTo>
                      <a:pt x="63424" y="7562"/>
                      <a:pt x="30654" y="3570"/>
                      <a:pt x="8266" y="1053"/>
                    </a:cubicBezTo>
                    <a:cubicBezTo>
                      <a:pt x="6173" y="-1463"/>
                      <a:pt x="6173" y="1138"/>
                      <a:pt x="8266" y="2122"/>
                    </a:cubicBezTo>
                    <a:cubicBezTo>
                      <a:pt x="15944" y="2917"/>
                      <a:pt x="24430" y="2917"/>
                      <a:pt x="30503" y="5329"/>
                    </a:cubicBezTo>
                    <a:lnTo>
                      <a:pt x="30503" y="9596"/>
                    </a:lnTo>
                    <a:cubicBezTo>
                      <a:pt x="25097" y="8650"/>
                      <a:pt x="15278" y="12131"/>
                      <a:pt x="14621" y="6389"/>
                    </a:cubicBezTo>
                    <a:cubicBezTo>
                      <a:pt x="10791" y="13068"/>
                      <a:pt x="4558" y="4951"/>
                      <a:pt x="-220" y="7458"/>
                    </a:cubicBezTo>
                    <a:cubicBezTo>
                      <a:pt x="3563" y="8990"/>
                      <a:pt x="6604" y="11251"/>
                      <a:pt x="11439" y="11734"/>
                    </a:cubicBezTo>
                    <a:cubicBezTo>
                      <a:pt x="13025" y="13683"/>
                      <a:pt x="11410" y="18876"/>
                      <a:pt x="16733" y="17069"/>
                    </a:cubicBezTo>
                    <a:close/>
                  </a:path>
                </a:pathLst>
              </a:custGeom>
              <a:solidFill>
                <a:schemeClr val="bg1"/>
              </a:solidFill>
              <a:ln w="9318" cap="flat">
                <a:noFill/>
                <a:prstDash val="solid"/>
                <a:round/>
              </a:ln>
            </p:spPr>
            <p:txBody>
              <a:bodyPr rtlCol="0" anchor="ctr"/>
              <a:lstStyle/>
              <a:p>
                <a:endParaRPr lang="en-LT"/>
              </a:p>
            </p:txBody>
          </p:sp>
          <p:sp>
            <p:nvSpPr>
              <p:cNvPr id="134" name="Freeform 133">
                <a:extLst>
                  <a:ext uri="{FF2B5EF4-FFF2-40B4-BE49-F238E27FC236}">
                    <a16:creationId xmlns:a16="http://schemas.microsoft.com/office/drawing/2014/main" id="{71795DBC-771A-FB42-B90B-EE0DBA011B86}"/>
                  </a:ext>
                </a:extLst>
              </p:cNvPr>
              <p:cNvSpPr/>
              <p:nvPr/>
            </p:nvSpPr>
            <p:spPr>
              <a:xfrm>
                <a:off x="6789253" y="2583847"/>
                <a:ext cx="15087" cy="142108"/>
              </a:xfrm>
              <a:custGeom>
                <a:avLst/>
                <a:gdLst>
                  <a:gd name="connsiteX0" fmla="*/ -220 w 5537"/>
                  <a:gd name="connsiteY0" fmla="*/ 52142 h 52154"/>
                  <a:gd name="connsiteX1" fmla="*/ 5102 w 5537"/>
                  <a:gd name="connsiteY1" fmla="*/ -12 h 52154"/>
                  <a:gd name="connsiteX2" fmla="*/ -220 w 5537"/>
                  <a:gd name="connsiteY2" fmla="*/ 52142 h 52154"/>
                </a:gdLst>
                <a:ahLst/>
                <a:cxnLst>
                  <a:cxn ang="0">
                    <a:pos x="connsiteX0" y="connsiteY0"/>
                  </a:cxn>
                  <a:cxn ang="0">
                    <a:pos x="connsiteX1" y="connsiteY1"/>
                  </a:cxn>
                  <a:cxn ang="0">
                    <a:pos x="connsiteX2" y="connsiteY2"/>
                  </a:cxn>
                </a:cxnLst>
                <a:rect l="l" t="t" r="r" b="b"/>
                <a:pathLst>
                  <a:path w="5537" h="52154">
                    <a:moveTo>
                      <a:pt x="-220" y="52142"/>
                    </a:moveTo>
                    <a:cubicBezTo>
                      <a:pt x="1911" y="34924"/>
                      <a:pt x="6342" y="16988"/>
                      <a:pt x="5102" y="-12"/>
                    </a:cubicBezTo>
                    <a:cubicBezTo>
                      <a:pt x="2408" y="16449"/>
                      <a:pt x="794" y="33988"/>
                      <a:pt x="-220" y="52142"/>
                    </a:cubicBezTo>
                    <a:close/>
                  </a:path>
                </a:pathLst>
              </a:custGeom>
              <a:solidFill>
                <a:schemeClr val="bg1"/>
              </a:solidFill>
              <a:ln w="9318" cap="flat">
                <a:noFill/>
                <a:prstDash val="solid"/>
                <a:round/>
              </a:ln>
            </p:spPr>
            <p:txBody>
              <a:bodyPr rtlCol="0" anchor="ctr"/>
              <a:lstStyle/>
              <a:p>
                <a:endParaRPr lang="en-LT"/>
              </a:p>
            </p:txBody>
          </p:sp>
          <p:sp>
            <p:nvSpPr>
              <p:cNvPr id="135" name="Freeform 134">
                <a:extLst>
                  <a:ext uri="{FF2B5EF4-FFF2-40B4-BE49-F238E27FC236}">
                    <a16:creationId xmlns:a16="http://schemas.microsoft.com/office/drawing/2014/main" id="{DC28C237-F133-D646-8143-77251AFE824F}"/>
                  </a:ext>
                </a:extLst>
              </p:cNvPr>
              <p:cNvSpPr/>
              <p:nvPr/>
            </p:nvSpPr>
            <p:spPr>
              <a:xfrm>
                <a:off x="6845280" y="3780260"/>
                <a:ext cx="8024" cy="20681"/>
              </a:xfrm>
              <a:custGeom>
                <a:avLst/>
                <a:gdLst>
                  <a:gd name="connsiteX0" fmla="*/ 2554 w 2945"/>
                  <a:gd name="connsiteY0" fmla="*/ -12 h 7590"/>
                  <a:gd name="connsiteX1" fmla="*/ 2554 w 2945"/>
                  <a:gd name="connsiteY1" fmla="*/ -12 h 7590"/>
                </a:gdLst>
                <a:ahLst/>
                <a:cxnLst>
                  <a:cxn ang="0">
                    <a:pos x="connsiteX0" y="connsiteY0"/>
                  </a:cxn>
                  <a:cxn ang="0">
                    <a:pos x="connsiteX1" y="connsiteY1"/>
                  </a:cxn>
                </a:cxnLst>
                <a:rect l="l" t="t" r="r" b="b"/>
                <a:pathLst>
                  <a:path w="2945" h="7590">
                    <a:moveTo>
                      <a:pt x="2554" y="-12"/>
                    </a:moveTo>
                    <a:cubicBezTo>
                      <a:pt x="-4355" y="14121"/>
                      <a:pt x="3999" y="5144"/>
                      <a:pt x="2554" y="-12"/>
                    </a:cubicBezTo>
                    <a:close/>
                  </a:path>
                </a:pathLst>
              </a:custGeom>
              <a:solidFill>
                <a:schemeClr val="bg1"/>
              </a:solidFill>
              <a:ln w="9318" cap="flat">
                <a:noFill/>
                <a:prstDash val="solid"/>
                <a:round/>
              </a:ln>
            </p:spPr>
            <p:txBody>
              <a:bodyPr rtlCol="0" anchor="ctr"/>
              <a:lstStyle/>
              <a:p>
                <a:endParaRPr lang="en-LT"/>
              </a:p>
            </p:txBody>
          </p:sp>
          <p:sp>
            <p:nvSpPr>
              <p:cNvPr id="136" name="Freeform 135">
                <a:extLst>
                  <a:ext uri="{FF2B5EF4-FFF2-40B4-BE49-F238E27FC236}">
                    <a16:creationId xmlns:a16="http://schemas.microsoft.com/office/drawing/2014/main" id="{87F36D2C-04C4-DF4B-B090-ED96158EBAD0}"/>
                  </a:ext>
                </a:extLst>
              </p:cNvPr>
              <p:cNvSpPr/>
              <p:nvPr/>
            </p:nvSpPr>
            <p:spPr>
              <a:xfrm>
                <a:off x="7024881" y="3853029"/>
                <a:ext cx="18608" cy="20338"/>
              </a:xfrm>
              <a:custGeom>
                <a:avLst/>
                <a:gdLst>
                  <a:gd name="connsiteX0" fmla="*/ 245 w 6829"/>
                  <a:gd name="connsiteY0" fmla="*/ 7452 h 7464"/>
                  <a:gd name="connsiteX1" fmla="*/ 6610 w 6829"/>
                  <a:gd name="connsiteY1" fmla="*/ -12 h 7464"/>
                  <a:gd name="connsiteX2" fmla="*/ 245 w 6829"/>
                  <a:gd name="connsiteY2" fmla="*/ 7452 h 7464"/>
                </a:gdLst>
                <a:ahLst/>
                <a:cxnLst>
                  <a:cxn ang="0">
                    <a:pos x="connsiteX0" y="connsiteY0"/>
                  </a:cxn>
                  <a:cxn ang="0">
                    <a:pos x="connsiteX1" y="connsiteY1"/>
                  </a:cxn>
                  <a:cxn ang="0">
                    <a:pos x="connsiteX2" y="connsiteY2"/>
                  </a:cxn>
                </a:cxnLst>
                <a:rect l="l" t="t" r="r" b="b"/>
                <a:pathLst>
                  <a:path w="6829" h="7464">
                    <a:moveTo>
                      <a:pt x="245" y="7452"/>
                    </a:moveTo>
                    <a:cubicBezTo>
                      <a:pt x="1710" y="4311"/>
                      <a:pt x="5155" y="3138"/>
                      <a:pt x="6610" y="-12"/>
                    </a:cubicBezTo>
                    <a:cubicBezTo>
                      <a:pt x="3475" y="792"/>
                      <a:pt x="-1820" y="4945"/>
                      <a:pt x="245" y="7452"/>
                    </a:cubicBezTo>
                    <a:close/>
                  </a:path>
                </a:pathLst>
              </a:custGeom>
              <a:solidFill>
                <a:schemeClr val="bg1"/>
              </a:solidFill>
              <a:ln w="9318" cap="flat">
                <a:noFill/>
                <a:prstDash val="solid"/>
                <a:round/>
              </a:ln>
            </p:spPr>
            <p:txBody>
              <a:bodyPr rtlCol="0" anchor="ctr"/>
              <a:lstStyle/>
              <a:p>
                <a:endParaRPr lang="en-LT"/>
              </a:p>
            </p:txBody>
          </p:sp>
          <p:sp>
            <p:nvSpPr>
              <p:cNvPr id="137" name="Freeform 136">
                <a:extLst>
                  <a:ext uri="{FF2B5EF4-FFF2-40B4-BE49-F238E27FC236}">
                    <a16:creationId xmlns:a16="http://schemas.microsoft.com/office/drawing/2014/main" id="{BB75AB56-7ED7-9B49-8CEF-20696B9B888A}"/>
                  </a:ext>
                </a:extLst>
              </p:cNvPr>
              <p:cNvSpPr/>
              <p:nvPr/>
            </p:nvSpPr>
            <p:spPr>
              <a:xfrm>
                <a:off x="7080549" y="3786062"/>
                <a:ext cx="21594" cy="26471"/>
              </a:xfrm>
              <a:custGeom>
                <a:avLst/>
                <a:gdLst>
                  <a:gd name="connsiteX0" fmla="*/ 7366 w 7925"/>
                  <a:gd name="connsiteY0" fmla="*/ -12 h 9715"/>
                  <a:gd name="connsiteX1" fmla="*/ -49 w 7925"/>
                  <a:gd name="connsiteY1" fmla="*/ 9599 h 9715"/>
                  <a:gd name="connsiteX2" fmla="*/ 7366 w 7925"/>
                  <a:gd name="connsiteY2" fmla="*/ -12 h 9715"/>
                </a:gdLst>
                <a:ahLst/>
                <a:cxnLst>
                  <a:cxn ang="0">
                    <a:pos x="connsiteX0" y="connsiteY0"/>
                  </a:cxn>
                  <a:cxn ang="0">
                    <a:pos x="connsiteX1" y="connsiteY1"/>
                  </a:cxn>
                  <a:cxn ang="0">
                    <a:pos x="connsiteX2" y="connsiteY2"/>
                  </a:cxn>
                </a:cxnLst>
                <a:rect l="l" t="t" r="r" b="b"/>
                <a:pathLst>
                  <a:path w="7925" h="9715">
                    <a:moveTo>
                      <a:pt x="7366" y="-12"/>
                    </a:moveTo>
                    <a:cubicBezTo>
                      <a:pt x="4175" y="1359"/>
                      <a:pt x="-1251" y="10791"/>
                      <a:pt x="-49" y="9599"/>
                    </a:cubicBezTo>
                    <a:cubicBezTo>
                      <a:pt x="2372" y="6998"/>
                      <a:pt x="9310" y="3403"/>
                      <a:pt x="7366" y="-12"/>
                    </a:cubicBezTo>
                    <a:close/>
                  </a:path>
                </a:pathLst>
              </a:custGeom>
              <a:solidFill>
                <a:schemeClr val="bg1"/>
              </a:solidFill>
              <a:ln w="9318" cap="flat">
                <a:noFill/>
                <a:prstDash val="solid"/>
                <a:round/>
              </a:ln>
            </p:spPr>
            <p:txBody>
              <a:bodyPr rtlCol="0" anchor="ctr"/>
              <a:lstStyle/>
              <a:p>
                <a:endParaRPr lang="en-LT"/>
              </a:p>
            </p:txBody>
          </p:sp>
          <p:sp>
            <p:nvSpPr>
              <p:cNvPr id="138" name="Freeform 137">
                <a:extLst>
                  <a:ext uri="{FF2B5EF4-FFF2-40B4-BE49-F238E27FC236}">
                    <a16:creationId xmlns:a16="http://schemas.microsoft.com/office/drawing/2014/main" id="{73FFC82C-B594-B646-AB2B-D13AAC74D196}"/>
                  </a:ext>
                </a:extLst>
              </p:cNvPr>
              <p:cNvSpPr/>
              <p:nvPr/>
            </p:nvSpPr>
            <p:spPr>
              <a:xfrm>
                <a:off x="6893002" y="3981115"/>
                <a:ext cx="14725" cy="11891"/>
              </a:xfrm>
              <a:custGeom>
                <a:avLst/>
                <a:gdLst>
                  <a:gd name="connsiteX0" fmla="*/ 4133 w 5404"/>
                  <a:gd name="connsiteY0" fmla="*/ 4254 h 4364"/>
                  <a:gd name="connsiteX1" fmla="*/ 5184 w 5404"/>
                  <a:gd name="connsiteY1" fmla="*/ 1057 h 4364"/>
                  <a:gd name="connsiteX2" fmla="*/ -129 w 5404"/>
                  <a:gd name="connsiteY2" fmla="*/ -12 h 4364"/>
                  <a:gd name="connsiteX3" fmla="*/ 4133 w 5404"/>
                  <a:gd name="connsiteY3" fmla="*/ 4254 h 4364"/>
                </a:gdLst>
                <a:ahLst/>
                <a:cxnLst>
                  <a:cxn ang="0">
                    <a:pos x="connsiteX0" y="connsiteY0"/>
                  </a:cxn>
                  <a:cxn ang="0">
                    <a:pos x="connsiteX1" y="connsiteY1"/>
                  </a:cxn>
                  <a:cxn ang="0">
                    <a:pos x="connsiteX2" y="connsiteY2"/>
                  </a:cxn>
                  <a:cxn ang="0">
                    <a:pos x="connsiteX3" y="connsiteY3"/>
                  </a:cxn>
                </a:cxnLst>
                <a:rect l="l" t="t" r="r" b="b"/>
                <a:pathLst>
                  <a:path w="5404" h="4364">
                    <a:moveTo>
                      <a:pt x="4133" y="4254"/>
                    </a:moveTo>
                    <a:cubicBezTo>
                      <a:pt x="4076" y="2760"/>
                      <a:pt x="4630" y="1918"/>
                      <a:pt x="5184" y="1057"/>
                    </a:cubicBezTo>
                    <a:cubicBezTo>
                      <a:pt x="2725" y="1369"/>
                      <a:pt x="1110" y="877"/>
                      <a:pt x="-129" y="-12"/>
                    </a:cubicBezTo>
                    <a:cubicBezTo>
                      <a:pt x="-608" y="3327"/>
                      <a:pt x="800" y="4756"/>
                      <a:pt x="4133" y="4254"/>
                    </a:cubicBezTo>
                    <a:close/>
                  </a:path>
                </a:pathLst>
              </a:custGeom>
              <a:solidFill>
                <a:schemeClr val="bg1"/>
              </a:solidFill>
              <a:ln w="9318" cap="flat">
                <a:noFill/>
                <a:prstDash val="solid"/>
                <a:round/>
              </a:ln>
            </p:spPr>
            <p:txBody>
              <a:bodyPr rtlCol="0" anchor="ctr"/>
              <a:lstStyle/>
              <a:p>
                <a:endParaRPr lang="en-LT"/>
              </a:p>
            </p:txBody>
          </p:sp>
          <p:sp>
            <p:nvSpPr>
              <p:cNvPr id="139" name="Freeform 138">
                <a:extLst>
                  <a:ext uri="{FF2B5EF4-FFF2-40B4-BE49-F238E27FC236}">
                    <a16:creationId xmlns:a16="http://schemas.microsoft.com/office/drawing/2014/main" id="{A75BCF07-DC89-484C-B682-CE47439D8857}"/>
                  </a:ext>
                </a:extLst>
              </p:cNvPr>
              <p:cNvSpPr/>
              <p:nvPr/>
            </p:nvSpPr>
            <p:spPr>
              <a:xfrm>
                <a:off x="6883882" y="3835527"/>
                <a:ext cx="9232" cy="26240"/>
              </a:xfrm>
              <a:custGeom>
                <a:avLst/>
                <a:gdLst>
                  <a:gd name="connsiteX0" fmla="*/ 2157 w 3388"/>
                  <a:gd name="connsiteY0" fmla="*/ -12 h 9630"/>
                  <a:gd name="connsiteX1" fmla="*/ 1106 w 3388"/>
                  <a:gd name="connsiteY1" fmla="*/ 9618 h 9630"/>
                  <a:gd name="connsiteX2" fmla="*/ 2157 w 3388"/>
                  <a:gd name="connsiteY2" fmla="*/ -12 h 9630"/>
                </a:gdLst>
                <a:ahLst/>
                <a:cxnLst>
                  <a:cxn ang="0">
                    <a:pos x="connsiteX0" y="connsiteY0"/>
                  </a:cxn>
                  <a:cxn ang="0">
                    <a:pos x="connsiteX1" y="connsiteY1"/>
                  </a:cxn>
                  <a:cxn ang="0">
                    <a:pos x="connsiteX2" y="connsiteY2"/>
                  </a:cxn>
                </a:cxnLst>
                <a:rect l="l" t="t" r="r" b="b"/>
                <a:pathLst>
                  <a:path w="3388" h="9630">
                    <a:moveTo>
                      <a:pt x="2157" y="-12"/>
                    </a:moveTo>
                    <a:cubicBezTo>
                      <a:pt x="1697" y="2438"/>
                      <a:pt x="-2217" y="6865"/>
                      <a:pt x="1106" y="9618"/>
                    </a:cubicBezTo>
                    <a:cubicBezTo>
                      <a:pt x="186" y="5749"/>
                      <a:pt x="5246" y="2485"/>
                      <a:pt x="2157" y="-12"/>
                    </a:cubicBezTo>
                    <a:close/>
                  </a:path>
                </a:pathLst>
              </a:custGeom>
              <a:solidFill>
                <a:schemeClr val="bg1"/>
              </a:solidFill>
              <a:ln w="9318" cap="flat">
                <a:noFill/>
                <a:prstDash val="solid"/>
                <a:round/>
              </a:ln>
            </p:spPr>
            <p:txBody>
              <a:bodyPr rtlCol="0" anchor="ctr"/>
              <a:lstStyle/>
              <a:p>
                <a:endParaRPr lang="en-LT"/>
              </a:p>
            </p:txBody>
          </p:sp>
          <p:sp>
            <p:nvSpPr>
              <p:cNvPr id="140" name="Freeform 139">
                <a:extLst>
                  <a:ext uri="{FF2B5EF4-FFF2-40B4-BE49-F238E27FC236}">
                    <a16:creationId xmlns:a16="http://schemas.microsoft.com/office/drawing/2014/main" id="{9480959F-8E35-D448-B78D-6253ED88BBE3}"/>
                  </a:ext>
                </a:extLst>
              </p:cNvPr>
              <p:cNvSpPr/>
              <p:nvPr/>
            </p:nvSpPr>
            <p:spPr>
              <a:xfrm>
                <a:off x="6382571" y="3372366"/>
                <a:ext cx="26114" cy="26986"/>
              </a:xfrm>
              <a:custGeom>
                <a:avLst/>
                <a:gdLst>
                  <a:gd name="connsiteX0" fmla="*/ -220 w 9584"/>
                  <a:gd name="connsiteY0" fmla="*/ 9893 h 9904"/>
                  <a:gd name="connsiteX1" fmla="*/ 9364 w 9584"/>
                  <a:gd name="connsiteY1" fmla="*/ -12 h 9904"/>
                  <a:gd name="connsiteX2" fmla="*/ -220 w 9584"/>
                  <a:gd name="connsiteY2" fmla="*/ 9893 h 9904"/>
                </a:gdLst>
                <a:ahLst/>
                <a:cxnLst>
                  <a:cxn ang="0">
                    <a:pos x="connsiteX0" y="connsiteY0"/>
                  </a:cxn>
                  <a:cxn ang="0">
                    <a:pos x="connsiteX1" y="connsiteY1"/>
                  </a:cxn>
                  <a:cxn ang="0">
                    <a:pos x="connsiteX2" y="connsiteY2"/>
                  </a:cxn>
                </a:cxnLst>
                <a:rect l="l" t="t" r="r" b="b"/>
                <a:pathLst>
                  <a:path w="9584" h="9904">
                    <a:moveTo>
                      <a:pt x="-220" y="9893"/>
                    </a:moveTo>
                    <a:cubicBezTo>
                      <a:pt x="3000" y="6563"/>
                      <a:pt x="6191" y="3233"/>
                      <a:pt x="9364" y="-12"/>
                    </a:cubicBezTo>
                    <a:cubicBezTo>
                      <a:pt x="5590" y="2958"/>
                      <a:pt x="2099" y="6118"/>
                      <a:pt x="-220" y="9893"/>
                    </a:cubicBezTo>
                    <a:close/>
                  </a:path>
                </a:pathLst>
              </a:custGeom>
              <a:solidFill>
                <a:schemeClr val="bg1"/>
              </a:solidFill>
              <a:ln w="9318" cap="flat">
                <a:noFill/>
                <a:prstDash val="solid"/>
                <a:round/>
              </a:ln>
            </p:spPr>
            <p:txBody>
              <a:bodyPr rtlCol="0" anchor="ctr"/>
              <a:lstStyle/>
              <a:p>
                <a:endParaRPr lang="en-LT"/>
              </a:p>
            </p:txBody>
          </p:sp>
          <p:sp>
            <p:nvSpPr>
              <p:cNvPr id="141" name="Freeform 140">
                <a:extLst>
                  <a:ext uri="{FF2B5EF4-FFF2-40B4-BE49-F238E27FC236}">
                    <a16:creationId xmlns:a16="http://schemas.microsoft.com/office/drawing/2014/main" id="{2A350D5B-CE9C-1A4D-BBCF-D7A8D3A30D8B}"/>
                  </a:ext>
                </a:extLst>
              </p:cNvPr>
              <p:cNvSpPr/>
              <p:nvPr/>
            </p:nvSpPr>
            <p:spPr>
              <a:xfrm>
                <a:off x="6786468" y="2725955"/>
                <a:ext cx="2782" cy="54389"/>
              </a:xfrm>
              <a:custGeom>
                <a:avLst/>
                <a:gdLst>
                  <a:gd name="connsiteX0" fmla="*/ -71 w 1021"/>
                  <a:gd name="connsiteY0" fmla="*/ 19949 h 19961"/>
                  <a:gd name="connsiteX1" fmla="*/ 802 w 1021"/>
                  <a:gd name="connsiteY1" fmla="*/ -12 h 19961"/>
                  <a:gd name="connsiteX2" fmla="*/ -71 w 1021"/>
                  <a:gd name="connsiteY2" fmla="*/ 19949 h 19961"/>
                </a:gdLst>
                <a:ahLst/>
                <a:cxnLst>
                  <a:cxn ang="0">
                    <a:pos x="connsiteX0" y="connsiteY0"/>
                  </a:cxn>
                  <a:cxn ang="0">
                    <a:pos x="connsiteX1" y="connsiteY1"/>
                  </a:cxn>
                  <a:cxn ang="0">
                    <a:pos x="connsiteX2" y="connsiteY2"/>
                  </a:cxn>
                </a:cxnLst>
                <a:rect l="l" t="t" r="r" b="b"/>
                <a:pathLst>
                  <a:path w="1021" h="19961">
                    <a:moveTo>
                      <a:pt x="-71" y="19949"/>
                    </a:moveTo>
                    <a:cubicBezTo>
                      <a:pt x="145" y="13213"/>
                      <a:pt x="436" y="6563"/>
                      <a:pt x="802" y="-12"/>
                    </a:cubicBezTo>
                    <a:cubicBezTo>
                      <a:pt x="-43" y="6790"/>
                      <a:pt x="-465" y="13469"/>
                      <a:pt x="-71" y="19949"/>
                    </a:cubicBezTo>
                    <a:close/>
                  </a:path>
                </a:pathLst>
              </a:custGeom>
              <a:solidFill>
                <a:schemeClr val="bg1"/>
              </a:solidFill>
              <a:ln w="9318" cap="flat">
                <a:noFill/>
                <a:prstDash val="solid"/>
                <a:round/>
              </a:ln>
            </p:spPr>
            <p:txBody>
              <a:bodyPr rtlCol="0" anchor="ctr"/>
              <a:lstStyle/>
              <a:p>
                <a:endParaRPr lang="en-LT"/>
              </a:p>
            </p:txBody>
          </p:sp>
          <p:sp>
            <p:nvSpPr>
              <p:cNvPr id="142" name="Freeform 141">
                <a:extLst>
                  <a:ext uri="{FF2B5EF4-FFF2-40B4-BE49-F238E27FC236}">
                    <a16:creationId xmlns:a16="http://schemas.microsoft.com/office/drawing/2014/main" id="{53C20D1E-A4B3-794E-BD01-D109C8883B22}"/>
                  </a:ext>
                </a:extLst>
              </p:cNvPr>
              <p:cNvSpPr/>
              <p:nvPr/>
            </p:nvSpPr>
            <p:spPr>
              <a:xfrm>
                <a:off x="6552159" y="3547341"/>
                <a:ext cx="6101" cy="29101"/>
              </a:xfrm>
              <a:custGeom>
                <a:avLst/>
                <a:gdLst>
                  <a:gd name="connsiteX0" fmla="*/ 2020 w 2239"/>
                  <a:gd name="connsiteY0" fmla="*/ 10668 h 10680"/>
                  <a:gd name="connsiteX1" fmla="*/ -101 w 2239"/>
                  <a:gd name="connsiteY1" fmla="*/ -12 h 10680"/>
                  <a:gd name="connsiteX2" fmla="*/ 2020 w 2239"/>
                  <a:gd name="connsiteY2" fmla="*/ 10668 h 10680"/>
                </a:gdLst>
                <a:ahLst/>
                <a:cxnLst>
                  <a:cxn ang="0">
                    <a:pos x="connsiteX0" y="connsiteY0"/>
                  </a:cxn>
                  <a:cxn ang="0">
                    <a:pos x="connsiteX1" y="connsiteY1"/>
                  </a:cxn>
                  <a:cxn ang="0">
                    <a:pos x="connsiteX2" y="connsiteY2"/>
                  </a:cxn>
                </a:cxnLst>
                <a:rect l="l" t="t" r="r" b="b"/>
                <a:pathLst>
                  <a:path w="2239" h="10680">
                    <a:moveTo>
                      <a:pt x="2020" y="10668"/>
                    </a:moveTo>
                    <a:cubicBezTo>
                      <a:pt x="1935" y="6487"/>
                      <a:pt x="1494" y="2646"/>
                      <a:pt x="-101" y="-12"/>
                    </a:cubicBezTo>
                    <a:cubicBezTo>
                      <a:pt x="452" y="3687"/>
                      <a:pt x="-1678" y="10139"/>
                      <a:pt x="2020" y="10668"/>
                    </a:cubicBezTo>
                    <a:close/>
                  </a:path>
                </a:pathLst>
              </a:custGeom>
              <a:solidFill>
                <a:schemeClr val="bg1"/>
              </a:solidFill>
              <a:ln w="9318" cap="flat">
                <a:noFill/>
                <a:prstDash val="solid"/>
                <a:round/>
              </a:ln>
            </p:spPr>
            <p:txBody>
              <a:bodyPr rtlCol="0" anchor="ctr"/>
              <a:lstStyle/>
              <a:p>
                <a:endParaRPr lang="en-LT"/>
              </a:p>
            </p:txBody>
          </p:sp>
          <p:sp>
            <p:nvSpPr>
              <p:cNvPr id="143" name="Freeform 142">
                <a:extLst>
                  <a:ext uri="{FF2B5EF4-FFF2-40B4-BE49-F238E27FC236}">
                    <a16:creationId xmlns:a16="http://schemas.microsoft.com/office/drawing/2014/main" id="{0AD9FD80-B732-3946-B999-EE76E9AC5AF2}"/>
                  </a:ext>
                </a:extLst>
              </p:cNvPr>
              <p:cNvSpPr/>
              <p:nvPr/>
            </p:nvSpPr>
            <p:spPr>
              <a:xfrm>
                <a:off x="6612608" y="2639217"/>
                <a:ext cx="17858" cy="205669"/>
              </a:xfrm>
              <a:custGeom>
                <a:avLst/>
                <a:gdLst>
                  <a:gd name="connsiteX0" fmla="*/ 1031 w 6554"/>
                  <a:gd name="connsiteY0" fmla="*/ 72623 h 75481"/>
                  <a:gd name="connsiteX1" fmla="*/ 6334 w 6554"/>
                  <a:gd name="connsiteY1" fmla="*/ -12 h 75481"/>
                  <a:gd name="connsiteX2" fmla="*/ -39 w 6554"/>
                  <a:gd name="connsiteY2" fmla="*/ 71554 h 75481"/>
                  <a:gd name="connsiteX3" fmla="*/ 1031 w 6554"/>
                  <a:gd name="connsiteY3" fmla="*/ 72623 h 75481"/>
                </a:gdLst>
                <a:ahLst/>
                <a:cxnLst>
                  <a:cxn ang="0">
                    <a:pos x="connsiteX0" y="connsiteY0"/>
                  </a:cxn>
                  <a:cxn ang="0">
                    <a:pos x="connsiteX1" y="connsiteY1"/>
                  </a:cxn>
                  <a:cxn ang="0">
                    <a:pos x="connsiteX2" y="connsiteY2"/>
                  </a:cxn>
                  <a:cxn ang="0">
                    <a:pos x="connsiteX3" y="connsiteY3"/>
                  </a:cxn>
                </a:cxnLst>
                <a:rect l="l" t="t" r="r" b="b"/>
                <a:pathLst>
                  <a:path w="6554" h="75481">
                    <a:moveTo>
                      <a:pt x="1031" y="72623"/>
                    </a:moveTo>
                    <a:cubicBezTo>
                      <a:pt x="26" y="46314"/>
                      <a:pt x="5856" y="21216"/>
                      <a:pt x="6334" y="-12"/>
                    </a:cubicBezTo>
                    <a:cubicBezTo>
                      <a:pt x="-1494" y="18104"/>
                      <a:pt x="-20" y="45558"/>
                      <a:pt x="-39" y="71554"/>
                    </a:cubicBezTo>
                    <a:cubicBezTo>
                      <a:pt x="-884" y="75206"/>
                      <a:pt x="1538" y="77647"/>
                      <a:pt x="1031" y="72623"/>
                    </a:cubicBezTo>
                    <a:close/>
                  </a:path>
                </a:pathLst>
              </a:custGeom>
              <a:solidFill>
                <a:schemeClr val="bg1"/>
              </a:solidFill>
              <a:ln w="9318" cap="flat">
                <a:noFill/>
                <a:prstDash val="solid"/>
                <a:round/>
              </a:ln>
            </p:spPr>
            <p:txBody>
              <a:bodyPr rtlCol="0" anchor="ctr"/>
              <a:lstStyle/>
              <a:p>
                <a:endParaRPr lang="en-LT"/>
              </a:p>
            </p:txBody>
          </p:sp>
          <p:sp>
            <p:nvSpPr>
              <p:cNvPr id="144" name="Freeform 143">
                <a:extLst>
                  <a:ext uri="{FF2B5EF4-FFF2-40B4-BE49-F238E27FC236}">
                    <a16:creationId xmlns:a16="http://schemas.microsoft.com/office/drawing/2014/main" id="{B1F1C945-1C7D-0743-BABE-4640C521D409}"/>
                  </a:ext>
                </a:extLst>
              </p:cNvPr>
              <p:cNvSpPr/>
              <p:nvPr/>
            </p:nvSpPr>
            <p:spPr>
              <a:xfrm>
                <a:off x="6657513" y="2586787"/>
                <a:ext cx="8150" cy="26188"/>
              </a:xfrm>
              <a:custGeom>
                <a:avLst/>
                <a:gdLst>
                  <a:gd name="connsiteX0" fmla="*/ 1494 w 2991"/>
                  <a:gd name="connsiteY0" fmla="*/ -12 h 9611"/>
                  <a:gd name="connsiteX1" fmla="*/ 1494 w 2991"/>
                  <a:gd name="connsiteY1" fmla="*/ 9599 h 9611"/>
                  <a:gd name="connsiteX2" fmla="*/ 1494 w 2991"/>
                  <a:gd name="connsiteY2" fmla="*/ -12 h 9611"/>
                </a:gdLst>
                <a:ahLst/>
                <a:cxnLst>
                  <a:cxn ang="0">
                    <a:pos x="connsiteX0" y="connsiteY0"/>
                  </a:cxn>
                  <a:cxn ang="0">
                    <a:pos x="connsiteX1" y="connsiteY1"/>
                  </a:cxn>
                  <a:cxn ang="0">
                    <a:pos x="connsiteX2" y="connsiteY2"/>
                  </a:cxn>
                </a:cxnLst>
                <a:rect l="l" t="t" r="r" b="b"/>
                <a:pathLst>
                  <a:path w="2991" h="9611">
                    <a:moveTo>
                      <a:pt x="1494" y="-12"/>
                    </a:moveTo>
                    <a:cubicBezTo>
                      <a:pt x="-1312" y="1918"/>
                      <a:pt x="-205" y="6667"/>
                      <a:pt x="1494" y="9599"/>
                    </a:cubicBezTo>
                    <a:cubicBezTo>
                      <a:pt x="1936" y="7461"/>
                      <a:pt x="4132" y="1681"/>
                      <a:pt x="1494" y="-12"/>
                    </a:cubicBezTo>
                    <a:close/>
                  </a:path>
                </a:pathLst>
              </a:custGeom>
              <a:solidFill>
                <a:schemeClr val="bg1"/>
              </a:solidFill>
              <a:ln w="9318" cap="flat">
                <a:noFill/>
                <a:prstDash val="solid"/>
                <a:round/>
              </a:ln>
            </p:spPr>
            <p:txBody>
              <a:bodyPr rtlCol="0" anchor="ctr"/>
              <a:lstStyle/>
              <a:p>
                <a:endParaRPr lang="en-LT"/>
              </a:p>
            </p:txBody>
          </p:sp>
          <p:sp>
            <p:nvSpPr>
              <p:cNvPr id="145" name="Freeform 144">
                <a:extLst>
                  <a:ext uri="{FF2B5EF4-FFF2-40B4-BE49-F238E27FC236}">
                    <a16:creationId xmlns:a16="http://schemas.microsoft.com/office/drawing/2014/main" id="{A53ADC5C-68EC-BF48-B0A1-852C993298F6}"/>
                  </a:ext>
                </a:extLst>
              </p:cNvPr>
              <p:cNvSpPr/>
              <p:nvPr/>
            </p:nvSpPr>
            <p:spPr>
              <a:xfrm>
                <a:off x="6679063" y="2755625"/>
                <a:ext cx="7561" cy="36231"/>
              </a:xfrm>
              <a:custGeom>
                <a:avLst/>
                <a:gdLst>
                  <a:gd name="connsiteX0" fmla="*/ 2081 w 2775"/>
                  <a:gd name="connsiteY0" fmla="*/ -12 h 13297"/>
                  <a:gd name="connsiteX1" fmla="*/ -31 w 2775"/>
                  <a:gd name="connsiteY1" fmla="*/ 5323 h 13297"/>
                  <a:gd name="connsiteX2" fmla="*/ 2081 w 2775"/>
                  <a:gd name="connsiteY2" fmla="*/ -12 h 13297"/>
                </a:gdLst>
                <a:ahLst/>
                <a:cxnLst>
                  <a:cxn ang="0">
                    <a:pos x="connsiteX0" y="connsiteY0"/>
                  </a:cxn>
                  <a:cxn ang="0">
                    <a:pos x="connsiteX1" y="connsiteY1"/>
                  </a:cxn>
                  <a:cxn ang="0">
                    <a:pos x="connsiteX2" y="connsiteY2"/>
                  </a:cxn>
                </a:cxnLst>
                <a:rect l="l" t="t" r="r" b="b"/>
                <a:pathLst>
                  <a:path w="2775" h="13297">
                    <a:moveTo>
                      <a:pt x="2081" y="-12"/>
                    </a:moveTo>
                    <a:cubicBezTo>
                      <a:pt x="1490" y="1889"/>
                      <a:pt x="1518" y="4425"/>
                      <a:pt x="-31" y="5323"/>
                    </a:cubicBezTo>
                    <a:cubicBezTo>
                      <a:pt x="-1280" y="25956"/>
                      <a:pt x="4146" y="-31"/>
                      <a:pt x="2081" y="-12"/>
                    </a:cubicBezTo>
                    <a:close/>
                  </a:path>
                </a:pathLst>
              </a:custGeom>
              <a:solidFill>
                <a:schemeClr val="bg1"/>
              </a:solidFill>
              <a:ln w="9318" cap="flat">
                <a:noFill/>
                <a:prstDash val="solid"/>
                <a:round/>
              </a:ln>
            </p:spPr>
            <p:txBody>
              <a:bodyPr rtlCol="0" anchor="ctr"/>
              <a:lstStyle/>
              <a:p>
                <a:endParaRPr lang="en-LT"/>
              </a:p>
            </p:txBody>
          </p:sp>
          <p:sp>
            <p:nvSpPr>
              <p:cNvPr id="146" name="Freeform 145">
                <a:extLst>
                  <a:ext uri="{FF2B5EF4-FFF2-40B4-BE49-F238E27FC236}">
                    <a16:creationId xmlns:a16="http://schemas.microsoft.com/office/drawing/2014/main" id="{F91FA8BA-8624-C940-87B7-BF26998A27D5}"/>
                  </a:ext>
                </a:extLst>
              </p:cNvPr>
              <p:cNvSpPr/>
              <p:nvPr/>
            </p:nvSpPr>
            <p:spPr>
              <a:xfrm>
                <a:off x="6522933" y="2775276"/>
                <a:ext cx="29948" cy="44850"/>
              </a:xfrm>
              <a:custGeom>
                <a:avLst/>
                <a:gdLst>
                  <a:gd name="connsiteX0" fmla="*/ 8503 w 10991"/>
                  <a:gd name="connsiteY0" fmla="*/ 16294 h 16460"/>
                  <a:gd name="connsiteX1" fmla="*/ 8503 w 10991"/>
                  <a:gd name="connsiteY1" fmla="*/ 1318 h 16460"/>
                  <a:gd name="connsiteX2" fmla="*/ 1087 w 10991"/>
                  <a:gd name="connsiteY2" fmla="*/ 15215 h 16460"/>
                  <a:gd name="connsiteX3" fmla="*/ 8503 w 10991"/>
                  <a:gd name="connsiteY3" fmla="*/ 16294 h 16460"/>
                </a:gdLst>
                <a:ahLst/>
                <a:cxnLst>
                  <a:cxn ang="0">
                    <a:pos x="connsiteX0" y="connsiteY0"/>
                  </a:cxn>
                  <a:cxn ang="0">
                    <a:pos x="connsiteX1" y="connsiteY1"/>
                  </a:cxn>
                  <a:cxn ang="0">
                    <a:pos x="connsiteX2" y="connsiteY2"/>
                  </a:cxn>
                  <a:cxn ang="0">
                    <a:pos x="connsiteX3" y="connsiteY3"/>
                  </a:cxn>
                </a:cxnLst>
                <a:rect l="l" t="t" r="r" b="b"/>
                <a:pathLst>
                  <a:path w="10991" h="16460">
                    <a:moveTo>
                      <a:pt x="8503" y="16294"/>
                    </a:moveTo>
                    <a:cubicBezTo>
                      <a:pt x="11901" y="13730"/>
                      <a:pt x="11131" y="4071"/>
                      <a:pt x="8503" y="1318"/>
                    </a:cubicBezTo>
                    <a:cubicBezTo>
                      <a:pt x="-405" y="-4235"/>
                      <a:pt x="-1691" y="9000"/>
                      <a:pt x="1087" y="15215"/>
                    </a:cubicBezTo>
                    <a:cubicBezTo>
                      <a:pt x="3575" y="15556"/>
                      <a:pt x="5058" y="16899"/>
                      <a:pt x="8503" y="16294"/>
                    </a:cubicBezTo>
                    <a:close/>
                  </a:path>
                </a:pathLst>
              </a:custGeom>
              <a:solidFill>
                <a:schemeClr val="bg1"/>
              </a:solidFill>
              <a:ln w="9318" cap="flat">
                <a:noFill/>
                <a:prstDash val="solid"/>
                <a:round/>
              </a:ln>
            </p:spPr>
            <p:txBody>
              <a:bodyPr rtlCol="0" anchor="ctr"/>
              <a:lstStyle/>
              <a:p>
                <a:endParaRPr lang="en-LT"/>
              </a:p>
            </p:txBody>
          </p:sp>
          <p:sp>
            <p:nvSpPr>
              <p:cNvPr id="147" name="Freeform 146">
                <a:extLst>
                  <a:ext uri="{FF2B5EF4-FFF2-40B4-BE49-F238E27FC236}">
                    <a16:creationId xmlns:a16="http://schemas.microsoft.com/office/drawing/2014/main" id="{D9CA2D52-9152-DE4B-8BF4-9007945FA026}"/>
                  </a:ext>
                </a:extLst>
              </p:cNvPr>
              <p:cNvSpPr/>
              <p:nvPr/>
            </p:nvSpPr>
            <p:spPr>
              <a:xfrm>
                <a:off x="6408686" y="3326148"/>
                <a:ext cx="51357" cy="46218"/>
              </a:xfrm>
              <a:custGeom>
                <a:avLst/>
                <a:gdLst>
                  <a:gd name="connsiteX0" fmla="*/ 18629 w 18848"/>
                  <a:gd name="connsiteY0" fmla="*/ -12 h 16962"/>
                  <a:gd name="connsiteX1" fmla="*/ -220 w 18848"/>
                  <a:gd name="connsiteY1" fmla="*/ 16950 h 16962"/>
                  <a:gd name="connsiteX2" fmla="*/ 18629 w 18848"/>
                  <a:gd name="connsiteY2" fmla="*/ -12 h 16962"/>
                </a:gdLst>
                <a:ahLst/>
                <a:cxnLst>
                  <a:cxn ang="0">
                    <a:pos x="connsiteX0" y="connsiteY0"/>
                  </a:cxn>
                  <a:cxn ang="0">
                    <a:pos x="connsiteX1" y="connsiteY1"/>
                  </a:cxn>
                  <a:cxn ang="0">
                    <a:pos x="connsiteX2" y="connsiteY2"/>
                  </a:cxn>
                </a:cxnLst>
                <a:rect l="l" t="t" r="r" b="b"/>
                <a:pathLst>
                  <a:path w="18848" h="16962">
                    <a:moveTo>
                      <a:pt x="18629" y="-12"/>
                    </a:moveTo>
                    <a:cubicBezTo>
                      <a:pt x="12349" y="4491"/>
                      <a:pt x="6097" y="10507"/>
                      <a:pt x="-220" y="16950"/>
                    </a:cubicBezTo>
                    <a:cubicBezTo>
                      <a:pt x="6867" y="11397"/>
                      <a:pt x="14978" y="6553"/>
                      <a:pt x="18629" y="-12"/>
                    </a:cubicBezTo>
                    <a:close/>
                  </a:path>
                </a:pathLst>
              </a:custGeom>
              <a:solidFill>
                <a:schemeClr val="bg1"/>
              </a:solidFill>
              <a:ln w="9318" cap="flat">
                <a:noFill/>
                <a:prstDash val="solid"/>
                <a:round/>
              </a:ln>
            </p:spPr>
            <p:txBody>
              <a:bodyPr rtlCol="0" anchor="ctr"/>
              <a:lstStyle/>
              <a:p>
                <a:endParaRPr lang="en-LT"/>
              </a:p>
            </p:txBody>
          </p:sp>
          <p:sp>
            <p:nvSpPr>
              <p:cNvPr id="148" name="Freeform 147">
                <a:extLst>
                  <a:ext uri="{FF2B5EF4-FFF2-40B4-BE49-F238E27FC236}">
                    <a16:creationId xmlns:a16="http://schemas.microsoft.com/office/drawing/2014/main" id="{9F732CB5-D4A4-394A-AF9D-4D64FC239870}"/>
                  </a:ext>
                </a:extLst>
              </p:cNvPr>
              <p:cNvSpPr/>
              <p:nvPr/>
            </p:nvSpPr>
            <p:spPr>
              <a:xfrm>
                <a:off x="6382086" y="3136945"/>
                <a:ext cx="326315" cy="285274"/>
              </a:xfrm>
              <a:custGeom>
                <a:avLst/>
                <a:gdLst>
                  <a:gd name="connsiteX0" fmla="*/ -220 w 119758"/>
                  <a:gd name="connsiteY0" fmla="*/ 104684 h 104696"/>
                  <a:gd name="connsiteX1" fmla="*/ 119539 w 119758"/>
                  <a:gd name="connsiteY1" fmla="*/ -12 h 104696"/>
                  <a:gd name="connsiteX2" fmla="*/ -220 w 119758"/>
                  <a:gd name="connsiteY2" fmla="*/ 104684 h 104696"/>
                </a:gdLst>
                <a:ahLst/>
                <a:cxnLst>
                  <a:cxn ang="0">
                    <a:pos x="connsiteX0" y="connsiteY0"/>
                  </a:cxn>
                  <a:cxn ang="0">
                    <a:pos x="connsiteX1" y="connsiteY1"/>
                  </a:cxn>
                  <a:cxn ang="0">
                    <a:pos x="connsiteX2" y="connsiteY2"/>
                  </a:cxn>
                </a:cxnLst>
                <a:rect l="l" t="t" r="r" b="b"/>
                <a:pathLst>
                  <a:path w="119758" h="104696">
                    <a:moveTo>
                      <a:pt x="-220" y="104684"/>
                    </a:moveTo>
                    <a:cubicBezTo>
                      <a:pt x="35910" y="66663"/>
                      <a:pt x="81465" y="32465"/>
                      <a:pt x="119539" y="-12"/>
                    </a:cubicBezTo>
                    <a:cubicBezTo>
                      <a:pt x="77542" y="32077"/>
                      <a:pt x="32550" y="66852"/>
                      <a:pt x="-220" y="104684"/>
                    </a:cubicBezTo>
                    <a:close/>
                  </a:path>
                </a:pathLst>
              </a:custGeom>
              <a:solidFill>
                <a:schemeClr val="bg1"/>
              </a:solidFill>
              <a:ln w="9318" cap="flat">
                <a:noFill/>
                <a:prstDash val="solid"/>
                <a:round/>
              </a:ln>
            </p:spPr>
            <p:txBody>
              <a:bodyPr rtlCol="0" anchor="ctr"/>
              <a:lstStyle/>
              <a:p>
                <a:endParaRPr lang="en-LT"/>
              </a:p>
            </p:txBody>
          </p:sp>
          <p:sp>
            <p:nvSpPr>
              <p:cNvPr id="149" name="Freeform 148">
                <a:extLst>
                  <a:ext uri="{FF2B5EF4-FFF2-40B4-BE49-F238E27FC236}">
                    <a16:creationId xmlns:a16="http://schemas.microsoft.com/office/drawing/2014/main" id="{BD933611-D511-BB46-B63C-05E2917E344D}"/>
                  </a:ext>
                </a:extLst>
              </p:cNvPr>
              <p:cNvSpPr/>
              <p:nvPr/>
            </p:nvSpPr>
            <p:spPr>
              <a:xfrm>
                <a:off x="6521759" y="2856090"/>
                <a:ext cx="36613" cy="48321"/>
              </a:xfrm>
              <a:custGeom>
                <a:avLst/>
                <a:gdLst>
                  <a:gd name="connsiteX0" fmla="*/ 11056 w 13437"/>
                  <a:gd name="connsiteY0" fmla="*/ 17580 h 17734"/>
                  <a:gd name="connsiteX1" fmla="*/ 2570 w 13437"/>
                  <a:gd name="connsiteY1" fmla="*/ 16520 h 17734"/>
                  <a:gd name="connsiteX2" fmla="*/ 11056 w 13437"/>
                  <a:gd name="connsiteY2" fmla="*/ 17580 h 17734"/>
                </a:gdLst>
                <a:ahLst/>
                <a:cxnLst>
                  <a:cxn ang="0">
                    <a:pos x="connsiteX0" y="connsiteY0"/>
                  </a:cxn>
                  <a:cxn ang="0">
                    <a:pos x="connsiteX1" y="connsiteY1"/>
                  </a:cxn>
                  <a:cxn ang="0">
                    <a:pos x="connsiteX2" y="connsiteY2"/>
                  </a:cxn>
                </a:cxnLst>
                <a:rect l="l" t="t" r="r" b="b"/>
                <a:pathLst>
                  <a:path w="13437" h="17734">
                    <a:moveTo>
                      <a:pt x="11056" y="17580"/>
                    </a:moveTo>
                    <a:cubicBezTo>
                      <a:pt x="21391" y="-3753"/>
                      <a:pt x="-9342" y="-7518"/>
                      <a:pt x="2570" y="16520"/>
                    </a:cubicBezTo>
                    <a:cubicBezTo>
                      <a:pt x="5114" y="17182"/>
                      <a:pt x="7404" y="18072"/>
                      <a:pt x="11056" y="17580"/>
                    </a:cubicBezTo>
                    <a:close/>
                  </a:path>
                </a:pathLst>
              </a:custGeom>
              <a:solidFill>
                <a:schemeClr val="bg1"/>
              </a:solidFill>
              <a:ln w="9318" cap="flat">
                <a:noFill/>
                <a:prstDash val="solid"/>
                <a:round/>
              </a:ln>
            </p:spPr>
            <p:txBody>
              <a:bodyPr rtlCol="0" anchor="ctr"/>
              <a:lstStyle/>
              <a:p>
                <a:endParaRPr lang="en-LT"/>
              </a:p>
            </p:txBody>
          </p:sp>
          <p:sp>
            <p:nvSpPr>
              <p:cNvPr id="150" name="Freeform 149">
                <a:extLst>
                  <a:ext uri="{FF2B5EF4-FFF2-40B4-BE49-F238E27FC236}">
                    <a16:creationId xmlns:a16="http://schemas.microsoft.com/office/drawing/2014/main" id="{EC118E65-6861-F44C-A17E-929C84A74E3A}"/>
                  </a:ext>
                </a:extLst>
              </p:cNvPr>
              <p:cNvSpPr/>
              <p:nvPr/>
            </p:nvSpPr>
            <p:spPr>
              <a:xfrm>
                <a:off x="6706273" y="2473288"/>
                <a:ext cx="13477" cy="58177"/>
              </a:xfrm>
              <a:custGeom>
                <a:avLst/>
                <a:gdLst>
                  <a:gd name="connsiteX0" fmla="*/ 2693 w 4946"/>
                  <a:gd name="connsiteY0" fmla="*/ -12 h 21351"/>
                  <a:gd name="connsiteX1" fmla="*/ 562 w 4946"/>
                  <a:gd name="connsiteY1" fmla="*/ 21339 h 21351"/>
                  <a:gd name="connsiteX2" fmla="*/ 2693 w 4946"/>
                  <a:gd name="connsiteY2" fmla="*/ -12 h 21351"/>
                </a:gdLst>
                <a:ahLst/>
                <a:cxnLst>
                  <a:cxn ang="0">
                    <a:pos x="connsiteX0" y="connsiteY0"/>
                  </a:cxn>
                  <a:cxn ang="0">
                    <a:pos x="connsiteX1" y="connsiteY1"/>
                  </a:cxn>
                  <a:cxn ang="0">
                    <a:pos x="connsiteX2" y="connsiteY2"/>
                  </a:cxn>
                </a:cxnLst>
                <a:rect l="l" t="t" r="r" b="b"/>
                <a:pathLst>
                  <a:path w="4946" h="21351">
                    <a:moveTo>
                      <a:pt x="2693" y="-12"/>
                    </a:moveTo>
                    <a:cubicBezTo>
                      <a:pt x="2852" y="7282"/>
                      <a:pt x="-2085" y="15096"/>
                      <a:pt x="562" y="21339"/>
                    </a:cubicBezTo>
                    <a:cubicBezTo>
                      <a:pt x="3068" y="15162"/>
                      <a:pt x="7255" y="4169"/>
                      <a:pt x="2693" y="-12"/>
                    </a:cubicBezTo>
                    <a:close/>
                  </a:path>
                </a:pathLst>
              </a:custGeom>
              <a:solidFill>
                <a:schemeClr val="bg1"/>
              </a:solidFill>
              <a:ln w="9318" cap="flat">
                <a:noFill/>
                <a:prstDash val="solid"/>
                <a:round/>
              </a:ln>
            </p:spPr>
            <p:txBody>
              <a:bodyPr rtlCol="0" anchor="ctr"/>
              <a:lstStyle/>
              <a:p>
                <a:endParaRPr lang="en-LT"/>
              </a:p>
            </p:txBody>
          </p:sp>
          <p:sp>
            <p:nvSpPr>
              <p:cNvPr id="151" name="Freeform 150">
                <a:extLst>
                  <a:ext uri="{FF2B5EF4-FFF2-40B4-BE49-F238E27FC236}">
                    <a16:creationId xmlns:a16="http://schemas.microsoft.com/office/drawing/2014/main" id="{16EFF530-FC02-B14B-8C72-B19BD353DCE6}"/>
                  </a:ext>
                </a:extLst>
              </p:cNvPr>
              <p:cNvSpPr/>
              <p:nvPr/>
            </p:nvSpPr>
            <p:spPr>
              <a:xfrm>
                <a:off x="6512020" y="3629169"/>
                <a:ext cx="71556" cy="11390"/>
              </a:xfrm>
              <a:custGeom>
                <a:avLst/>
                <a:gdLst>
                  <a:gd name="connsiteX0" fmla="*/ 15691 w 26261"/>
                  <a:gd name="connsiteY0" fmla="*/ 3086 h 4180"/>
                  <a:gd name="connsiteX1" fmla="*/ -220 w 26261"/>
                  <a:gd name="connsiteY1" fmla="*/ 4146 h 4180"/>
                  <a:gd name="connsiteX2" fmla="*/ 19915 w 26261"/>
                  <a:gd name="connsiteY2" fmla="*/ 4146 h 4180"/>
                  <a:gd name="connsiteX3" fmla="*/ 15691 w 26261"/>
                  <a:gd name="connsiteY3" fmla="*/ 3086 h 4180"/>
                </a:gdLst>
                <a:ahLst/>
                <a:cxnLst>
                  <a:cxn ang="0">
                    <a:pos x="connsiteX0" y="connsiteY0"/>
                  </a:cxn>
                  <a:cxn ang="0">
                    <a:pos x="connsiteX1" y="connsiteY1"/>
                  </a:cxn>
                  <a:cxn ang="0">
                    <a:pos x="connsiteX2" y="connsiteY2"/>
                  </a:cxn>
                  <a:cxn ang="0">
                    <a:pos x="connsiteX3" y="connsiteY3"/>
                  </a:cxn>
                </a:cxnLst>
                <a:rect l="l" t="t" r="r" b="b"/>
                <a:pathLst>
                  <a:path w="26261" h="4180">
                    <a:moveTo>
                      <a:pt x="15691" y="3086"/>
                    </a:moveTo>
                    <a:cubicBezTo>
                      <a:pt x="11561" y="731"/>
                      <a:pt x="1526" y="-2997"/>
                      <a:pt x="-220" y="4146"/>
                    </a:cubicBezTo>
                    <a:lnTo>
                      <a:pt x="19915" y="4146"/>
                    </a:lnTo>
                    <a:cubicBezTo>
                      <a:pt x="32484" y="4411"/>
                      <a:pt x="22975" y="2263"/>
                      <a:pt x="15691" y="3086"/>
                    </a:cubicBezTo>
                    <a:close/>
                  </a:path>
                </a:pathLst>
              </a:custGeom>
              <a:solidFill>
                <a:schemeClr val="bg1"/>
              </a:solidFill>
              <a:ln w="9318" cap="flat">
                <a:noFill/>
                <a:prstDash val="solid"/>
                <a:round/>
              </a:ln>
            </p:spPr>
            <p:txBody>
              <a:bodyPr rtlCol="0" anchor="ctr"/>
              <a:lstStyle/>
              <a:p>
                <a:endParaRPr lang="en-LT"/>
              </a:p>
            </p:txBody>
          </p:sp>
          <p:sp>
            <p:nvSpPr>
              <p:cNvPr id="152" name="Freeform 151">
                <a:extLst>
                  <a:ext uri="{FF2B5EF4-FFF2-40B4-BE49-F238E27FC236}">
                    <a16:creationId xmlns:a16="http://schemas.microsoft.com/office/drawing/2014/main" id="{001D3BDE-3676-6F46-97D6-271A6E7E8508}"/>
                  </a:ext>
                </a:extLst>
              </p:cNvPr>
              <p:cNvSpPr/>
              <p:nvPr/>
            </p:nvSpPr>
            <p:spPr>
              <a:xfrm>
                <a:off x="6528723" y="2950044"/>
                <a:ext cx="29831" cy="42242"/>
              </a:xfrm>
              <a:custGeom>
                <a:avLst/>
                <a:gdLst>
                  <a:gd name="connsiteX0" fmla="*/ 8499 w 10948"/>
                  <a:gd name="connsiteY0" fmla="*/ 15158 h 15503"/>
                  <a:gd name="connsiteX1" fmla="*/ 7429 w 10948"/>
                  <a:gd name="connsiteY1" fmla="*/ 211 h 15503"/>
                  <a:gd name="connsiteX2" fmla="*/ 8499 w 10948"/>
                  <a:gd name="connsiteY2" fmla="*/ 15158 h 15503"/>
                </a:gdLst>
                <a:ahLst/>
                <a:cxnLst>
                  <a:cxn ang="0">
                    <a:pos x="connsiteX0" y="connsiteY0"/>
                  </a:cxn>
                  <a:cxn ang="0">
                    <a:pos x="connsiteX1" y="connsiteY1"/>
                  </a:cxn>
                  <a:cxn ang="0">
                    <a:pos x="connsiteX2" y="connsiteY2"/>
                  </a:cxn>
                </a:cxnLst>
                <a:rect l="l" t="t" r="r" b="b"/>
                <a:pathLst>
                  <a:path w="10948" h="15503">
                    <a:moveTo>
                      <a:pt x="8499" y="15158"/>
                    </a:moveTo>
                    <a:cubicBezTo>
                      <a:pt x="12339" y="12027"/>
                      <a:pt x="10715" y="2529"/>
                      <a:pt x="7429" y="211"/>
                    </a:cubicBezTo>
                    <a:cubicBezTo>
                      <a:pt x="-3985" y="-2371"/>
                      <a:pt x="-1789" y="18337"/>
                      <a:pt x="8499" y="15158"/>
                    </a:cubicBezTo>
                    <a:close/>
                  </a:path>
                </a:pathLst>
              </a:custGeom>
              <a:solidFill>
                <a:schemeClr val="bg1"/>
              </a:solidFill>
              <a:ln w="9318" cap="flat">
                <a:noFill/>
                <a:prstDash val="solid"/>
                <a:round/>
              </a:ln>
            </p:spPr>
            <p:txBody>
              <a:bodyPr rtlCol="0" anchor="ctr"/>
              <a:lstStyle/>
              <a:p>
                <a:endParaRPr lang="en-LT"/>
              </a:p>
            </p:txBody>
          </p:sp>
          <p:sp>
            <p:nvSpPr>
              <p:cNvPr id="153" name="Freeform 152">
                <a:extLst>
                  <a:ext uri="{FF2B5EF4-FFF2-40B4-BE49-F238E27FC236}">
                    <a16:creationId xmlns:a16="http://schemas.microsoft.com/office/drawing/2014/main" id="{1A59A8ED-63F9-9648-9BF8-25EC366DF9BB}"/>
                  </a:ext>
                </a:extLst>
              </p:cNvPr>
              <p:cNvSpPr/>
              <p:nvPr/>
            </p:nvSpPr>
            <p:spPr>
              <a:xfrm>
                <a:off x="6505595" y="3544428"/>
                <a:ext cx="8343" cy="29152"/>
              </a:xfrm>
              <a:custGeom>
                <a:avLst/>
                <a:gdLst>
                  <a:gd name="connsiteX0" fmla="*/ 1086 w 3062"/>
                  <a:gd name="connsiteY0" fmla="*/ -12 h 10699"/>
                  <a:gd name="connsiteX1" fmla="*/ 2138 w 3062"/>
                  <a:gd name="connsiteY1" fmla="*/ 10687 h 10699"/>
                  <a:gd name="connsiteX2" fmla="*/ 1086 w 3062"/>
                  <a:gd name="connsiteY2" fmla="*/ -12 h 10699"/>
                </a:gdLst>
                <a:ahLst/>
                <a:cxnLst>
                  <a:cxn ang="0">
                    <a:pos x="connsiteX0" y="connsiteY0"/>
                  </a:cxn>
                  <a:cxn ang="0">
                    <a:pos x="connsiteX1" y="connsiteY1"/>
                  </a:cxn>
                  <a:cxn ang="0">
                    <a:pos x="connsiteX2" y="connsiteY2"/>
                  </a:cxn>
                </a:cxnLst>
                <a:rect l="l" t="t" r="r" b="b"/>
                <a:pathLst>
                  <a:path w="3062" h="10699">
                    <a:moveTo>
                      <a:pt x="1086" y="-12"/>
                    </a:moveTo>
                    <a:cubicBezTo>
                      <a:pt x="2063" y="3469"/>
                      <a:pt x="-3035" y="9845"/>
                      <a:pt x="2138" y="10687"/>
                    </a:cubicBezTo>
                    <a:cubicBezTo>
                      <a:pt x="3809" y="9259"/>
                      <a:pt x="2119" y="2230"/>
                      <a:pt x="1086" y="-12"/>
                    </a:cubicBezTo>
                    <a:close/>
                  </a:path>
                </a:pathLst>
              </a:custGeom>
              <a:solidFill>
                <a:schemeClr val="bg1"/>
              </a:solidFill>
              <a:ln w="9318" cap="flat">
                <a:noFill/>
                <a:prstDash val="solid"/>
                <a:round/>
              </a:ln>
            </p:spPr>
            <p:txBody>
              <a:bodyPr rtlCol="0" anchor="ctr"/>
              <a:lstStyle/>
              <a:p>
                <a:endParaRPr lang="en-LT"/>
              </a:p>
            </p:txBody>
          </p:sp>
          <p:sp>
            <p:nvSpPr>
              <p:cNvPr id="154" name="Freeform 153">
                <a:extLst>
                  <a:ext uri="{FF2B5EF4-FFF2-40B4-BE49-F238E27FC236}">
                    <a16:creationId xmlns:a16="http://schemas.microsoft.com/office/drawing/2014/main" id="{968F9508-1480-B14C-884B-704A3F3A2A1D}"/>
                  </a:ext>
                </a:extLst>
              </p:cNvPr>
              <p:cNvSpPr/>
              <p:nvPr/>
            </p:nvSpPr>
            <p:spPr>
              <a:xfrm>
                <a:off x="6676687" y="3340712"/>
                <a:ext cx="17313" cy="84419"/>
              </a:xfrm>
              <a:custGeom>
                <a:avLst/>
                <a:gdLst>
                  <a:gd name="connsiteX0" fmla="*/ 6135 w 6354"/>
                  <a:gd name="connsiteY0" fmla="*/ 30970 h 30982"/>
                  <a:gd name="connsiteX1" fmla="*/ -220 w 6354"/>
                  <a:gd name="connsiteY1" fmla="*/ -12 h 30982"/>
                  <a:gd name="connsiteX2" fmla="*/ 6135 w 6354"/>
                  <a:gd name="connsiteY2" fmla="*/ 30970 h 30982"/>
                </a:gdLst>
                <a:ahLst/>
                <a:cxnLst>
                  <a:cxn ang="0">
                    <a:pos x="connsiteX0" y="connsiteY0"/>
                  </a:cxn>
                  <a:cxn ang="0">
                    <a:pos x="connsiteX1" y="connsiteY1"/>
                  </a:cxn>
                  <a:cxn ang="0">
                    <a:pos x="connsiteX2" y="connsiteY2"/>
                  </a:cxn>
                </a:cxnLst>
                <a:rect l="l" t="t" r="r" b="b"/>
                <a:pathLst>
                  <a:path w="6354" h="30982">
                    <a:moveTo>
                      <a:pt x="6135" y="30970"/>
                    </a:moveTo>
                    <a:cubicBezTo>
                      <a:pt x="4258" y="20393"/>
                      <a:pt x="3563" y="8615"/>
                      <a:pt x="-220" y="-12"/>
                    </a:cubicBezTo>
                    <a:cubicBezTo>
                      <a:pt x="784" y="10716"/>
                      <a:pt x="3366" y="25559"/>
                      <a:pt x="6135" y="30970"/>
                    </a:cubicBezTo>
                    <a:close/>
                  </a:path>
                </a:pathLst>
              </a:custGeom>
              <a:solidFill>
                <a:schemeClr val="bg1"/>
              </a:solidFill>
              <a:ln w="9318" cap="flat">
                <a:noFill/>
                <a:prstDash val="solid"/>
                <a:round/>
              </a:ln>
            </p:spPr>
            <p:txBody>
              <a:bodyPr rtlCol="0" anchor="ctr"/>
              <a:lstStyle/>
              <a:p>
                <a:endParaRPr lang="en-LT"/>
              </a:p>
            </p:txBody>
          </p:sp>
          <p:sp>
            <p:nvSpPr>
              <p:cNvPr id="155" name="Freeform 154">
                <a:extLst>
                  <a:ext uri="{FF2B5EF4-FFF2-40B4-BE49-F238E27FC236}">
                    <a16:creationId xmlns:a16="http://schemas.microsoft.com/office/drawing/2014/main" id="{918BFE9C-AD4C-CF4D-B7D8-2248A2F6B7D7}"/>
                  </a:ext>
                </a:extLst>
              </p:cNvPr>
              <p:cNvSpPr/>
              <p:nvPr/>
            </p:nvSpPr>
            <p:spPr>
              <a:xfrm>
                <a:off x="6740068" y="3489161"/>
                <a:ext cx="9158" cy="69855"/>
              </a:xfrm>
              <a:custGeom>
                <a:avLst/>
                <a:gdLst>
                  <a:gd name="connsiteX0" fmla="*/ 887 w 3361"/>
                  <a:gd name="connsiteY0" fmla="*/ 25625 h 25637"/>
                  <a:gd name="connsiteX1" fmla="*/ -174 w 3361"/>
                  <a:gd name="connsiteY1" fmla="*/ -12 h 25637"/>
                  <a:gd name="connsiteX2" fmla="*/ 887 w 3361"/>
                  <a:gd name="connsiteY2" fmla="*/ 25625 h 25637"/>
                </a:gdLst>
                <a:ahLst/>
                <a:cxnLst>
                  <a:cxn ang="0">
                    <a:pos x="connsiteX0" y="connsiteY0"/>
                  </a:cxn>
                  <a:cxn ang="0">
                    <a:pos x="connsiteX1" y="connsiteY1"/>
                  </a:cxn>
                  <a:cxn ang="0">
                    <a:pos x="connsiteX2" y="connsiteY2"/>
                  </a:cxn>
                </a:cxnLst>
                <a:rect l="l" t="t" r="r" b="b"/>
                <a:pathLst>
                  <a:path w="3361" h="25637">
                    <a:moveTo>
                      <a:pt x="887" y="25625"/>
                    </a:moveTo>
                    <a:cubicBezTo>
                      <a:pt x="6003" y="19883"/>
                      <a:pt x="972" y="6468"/>
                      <a:pt x="-174" y="-12"/>
                    </a:cubicBezTo>
                    <a:cubicBezTo>
                      <a:pt x="-568" y="9297"/>
                      <a:pt x="1704" y="15871"/>
                      <a:pt x="887" y="25625"/>
                    </a:cubicBezTo>
                    <a:close/>
                  </a:path>
                </a:pathLst>
              </a:custGeom>
              <a:solidFill>
                <a:schemeClr val="bg1"/>
              </a:solidFill>
              <a:ln w="9318" cap="flat">
                <a:noFill/>
                <a:prstDash val="solid"/>
                <a:round/>
              </a:ln>
            </p:spPr>
            <p:txBody>
              <a:bodyPr rtlCol="0" anchor="ctr"/>
              <a:lstStyle/>
              <a:p>
                <a:endParaRPr lang="en-LT"/>
              </a:p>
            </p:txBody>
          </p:sp>
          <p:sp>
            <p:nvSpPr>
              <p:cNvPr id="156" name="Freeform 155">
                <a:extLst>
                  <a:ext uri="{FF2B5EF4-FFF2-40B4-BE49-F238E27FC236}">
                    <a16:creationId xmlns:a16="http://schemas.microsoft.com/office/drawing/2014/main" id="{918E0F5E-158A-FE42-94F3-368076B92C60}"/>
                  </a:ext>
                </a:extLst>
              </p:cNvPr>
              <p:cNvSpPr/>
              <p:nvPr/>
            </p:nvSpPr>
            <p:spPr>
              <a:xfrm>
                <a:off x="6616017" y="2021920"/>
                <a:ext cx="29139" cy="125288"/>
              </a:xfrm>
              <a:custGeom>
                <a:avLst/>
                <a:gdLst>
                  <a:gd name="connsiteX0" fmla="*/ 5084 w 10694"/>
                  <a:gd name="connsiteY0" fmla="*/ 39565 h 45981"/>
                  <a:gd name="connsiteX1" fmla="*/ 9317 w 10694"/>
                  <a:gd name="connsiteY1" fmla="*/ 45969 h 45981"/>
                  <a:gd name="connsiteX2" fmla="*/ 10368 w 10694"/>
                  <a:gd name="connsiteY2" fmla="*/ 1118 h 45981"/>
                  <a:gd name="connsiteX3" fmla="*/ -220 w 10694"/>
                  <a:gd name="connsiteY3" fmla="*/ 49 h 45981"/>
                  <a:gd name="connsiteX4" fmla="*/ 8256 w 10694"/>
                  <a:gd name="connsiteY4" fmla="*/ 36367 h 45981"/>
                  <a:gd name="connsiteX5" fmla="*/ 5084 w 10694"/>
                  <a:gd name="connsiteY5" fmla="*/ 39565 h 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4" h="45981">
                    <a:moveTo>
                      <a:pt x="5084" y="39565"/>
                    </a:moveTo>
                    <a:cubicBezTo>
                      <a:pt x="6341" y="41844"/>
                      <a:pt x="6370" y="45392"/>
                      <a:pt x="9317" y="45969"/>
                    </a:cubicBezTo>
                    <a:cubicBezTo>
                      <a:pt x="11410" y="32801"/>
                      <a:pt x="9937" y="15990"/>
                      <a:pt x="10368" y="1118"/>
                    </a:cubicBezTo>
                    <a:cubicBezTo>
                      <a:pt x="8378" y="-764"/>
                      <a:pt x="3366" y="343"/>
                      <a:pt x="-220" y="49"/>
                    </a:cubicBezTo>
                    <a:cubicBezTo>
                      <a:pt x="3103" y="11657"/>
                      <a:pt x="3563" y="26159"/>
                      <a:pt x="8256" y="36367"/>
                    </a:cubicBezTo>
                    <a:cubicBezTo>
                      <a:pt x="8679" y="38931"/>
                      <a:pt x="3422" y="35790"/>
                      <a:pt x="5084" y="39565"/>
                    </a:cubicBezTo>
                    <a:close/>
                  </a:path>
                </a:pathLst>
              </a:custGeom>
              <a:solidFill>
                <a:schemeClr val="bg1"/>
              </a:solidFill>
              <a:ln w="9318" cap="flat">
                <a:noFill/>
                <a:prstDash val="solid"/>
                <a:round/>
              </a:ln>
            </p:spPr>
            <p:txBody>
              <a:bodyPr rtlCol="0" anchor="ctr"/>
              <a:lstStyle/>
              <a:p>
                <a:endParaRPr lang="en-LT"/>
              </a:p>
            </p:txBody>
          </p:sp>
          <p:sp>
            <p:nvSpPr>
              <p:cNvPr id="157" name="Freeform 156">
                <a:extLst>
                  <a:ext uri="{FF2B5EF4-FFF2-40B4-BE49-F238E27FC236}">
                    <a16:creationId xmlns:a16="http://schemas.microsoft.com/office/drawing/2014/main" id="{FC98009F-EF18-834E-9228-326D90A6F346}"/>
                  </a:ext>
                </a:extLst>
              </p:cNvPr>
              <p:cNvSpPr/>
              <p:nvPr/>
            </p:nvSpPr>
            <p:spPr>
              <a:xfrm>
                <a:off x="6605769" y="2025002"/>
                <a:ext cx="21809" cy="87332"/>
              </a:xfrm>
              <a:custGeom>
                <a:avLst/>
                <a:gdLst>
                  <a:gd name="connsiteX0" fmla="*/ 1411 w 8004"/>
                  <a:gd name="connsiteY0" fmla="*/ -12 h 32051"/>
                  <a:gd name="connsiteX1" fmla="*/ 7784 w 8004"/>
                  <a:gd name="connsiteY1" fmla="*/ 32039 h 32051"/>
                  <a:gd name="connsiteX2" fmla="*/ 1411 w 8004"/>
                  <a:gd name="connsiteY2" fmla="*/ -12 h 32051"/>
                </a:gdLst>
                <a:ahLst/>
                <a:cxnLst>
                  <a:cxn ang="0">
                    <a:pos x="connsiteX0" y="connsiteY0"/>
                  </a:cxn>
                  <a:cxn ang="0">
                    <a:pos x="connsiteX1" y="connsiteY1"/>
                  </a:cxn>
                  <a:cxn ang="0">
                    <a:pos x="connsiteX2" y="connsiteY2"/>
                  </a:cxn>
                </a:cxnLst>
                <a:rect l="l" t="t" r="r" b="b"/>
                <a:pathLst>
                  <a:path w="8004" h="32051">
                    <a:moveTo>
                      <a:pt x="1411" y="-12"/>
                    </a:moveTo>
                    <a:cubicBezTo>
                      <a:pt x="-3058" y="9420"/>
                      <a:pt x="2518" y="25474"/>
                      <a:pt x="7784" y="32039"/>
                    </a:cubicBezTo>
                    <a:cubicBezTo>
                      <a:pt x="7521" y="19476"/>
                      <a:pt x="5024" y="9183"/>
                      <a:pt x="1411" y="-12"/>
                    </a:cubicBezTo>
                    <a:close/>
                  </a:path>
                </a:pathLst>
              </a:custGeom>
              <a:solidFill>
                <a:schemeClr val="bg1"/>
              </a:solidFill>
              <a:ln w="9318" cap="flat">
                <a:noFill/>
                <a:prstDash val="solid"/>
                <a:round/>
              </a:ln>
            </p:spPr>
            <p:txBody>
              <a:bodyPr rtlCol="0" anchor="ctr"/>
              <a:lstStyle/>
              <a:p>
                <a:endParaRPr lang="en-LT"/>
              </a:p>
            </p:txBody>
          </p:sp>
          <p:sp>
            <p:nvSpPr>
              <p:cNvPr id="158" name="Freeform 157">
                <a:extLst>
                  <a:ext uri="{FF2B5EF4-FFF2-40B4-BE49-F238E27FC236}">
                    <a16:creationId xmlns:a16="http://schemas.microsoft.com/office/drawing/2014/main" id="{9098132C-9655-1E4D-B2A8-CF323A5CBB48}"/>
                  </a:ext>
                </a:extLst>
              </p:cNvPr>
              <p:cNvSpPr/>
              <p:nvPr/>
            </p:nvSpPr>
            <p:spPr>
              <a:xfrm>
                <a:off x="6393582" y="2031792"/>
                <a:ext cx="167569" cy="229015"/>
              </a:xfrm>
              <a:custGeom>
                <a:avLst/>
                <a:gdLst>
                  <a:gd name="connsiteX0" fmla="*/ 44307 w 61498"/>
                  <a:gd name="connsiteY0" fmla="*/ 22073 h 84049"/>
                  <a:gd name="connsiteX1" fmla="*/ 26284 w 61498"/>
                  <a:gd name="connsiteY1" fmla="*/ 28477 h 84049"/>
                  <a:gd name="connsiteX2" fmla="*/ 47480 w 61498"/>
                  <a:gd name="connsiteY2" fmla="*/ 19935 h 84049"/>
                  <a:gd name="connsiteX3" fmla="*/ 61279 w 61498"/>
                  <a:gd name="connsiteY3" fmla="*/ 3900 h 84049"/>
                  <a:gd name="connsiteX4" fmla="*/ 2967 w 61498"/>
                  <a:gd name="connsiteY4" fmla="*/ 84037 h 84049"/>
                  <a:gd name="connsiteX5" fmla="*/ 44307 w 61498"/>
                  <a:gd name="connsiteY5" fmla="*/ 22073 h 8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98" h="84049">
                    <a:moveTo>
                      <a:pt x="44307" y="22073"/>
                    </a:moveTo>
                    <a:cubicBezTo>
                      <a:pt x="37098" y="22281"/>
                      <a:pt x="28772" y="27058"/>
                      <a:pt x="26284" y="28477"/>
                    </a:cubicBezTo>
                    <a:cubicBezTo>
                      <a:pt x="31616" y="23870"/>
                      <a:pt x="36075" y="18383"/>
                      <a:pt x="47480" y="19935"/>
                    </a:cubicBezTo>
                    <a:cubicBezTo>
                      <a:pt x="50868" y="13370"/>
                      <a:pt x="57158" y="9737"/>
                      <a:pt x="61279" y="3900"/>
                    </a:cubicBezTo>
                    <a:cubicBezTo>
                      <a:pt x="17263" y="-15087"/>
                      <a:pt x="-9846" y="38827"/>
                      <a:pt x="2967" y="84037"/>
                    </a:cubicBezTo>
                    <a:cubicBezTo>
                      <a:pt x="16099" y="62704"/>
                      <a:pt x="28509" y="40681"/>
                      <a:pt x="44307" y="22073"/>
                    </a:cubicBezTo>
                    <a:close/>
                  </a:path>
                </a:pathLst>
              </a:custGeom>
              <a:solidFill>
                <a:schemeClr val="bg1"/>
              </a:solidFill>
              <a:ln w="9318" cap="flat">
                <a:noFill/>
                <a:prstDash val="solid"/>
                <a:round/>
              </a:ln>
            </p:spPr>
            <p:txBody>
              <a:bodyPr rtlCol="0" anchor="ctr"/>
              <a:lstStyle/>
              <a:p>
                <a:endParaRPr lang="en-LT"/>
              </a:p>
            </p:txBody>
          </p:sp>
          <p:sp>
            <p:nvSpPr>
              <p:cNvPr id="159" name="Freeform 158">
                <a:extLst>
                  <a:ext uri="{FF2B5EF4-FFF2-40B4-BE49-F238E27FC236}">
                    <a16:creationId xmlns:a16="http://schemas.microsoft.com/office/drawing/2014/main" id="{A99EC6B2-E380-7144-B17A-CA2D8F1C74D9}"/>
                  </a:ext>
                </a:extLst>
              </p:cNvPr>
              <p:cNvSpPr/>
              <p:nvPr/>
            </p:nvSpPr>
            <p:spPr>
              <a:xfrm>
                <a:off x="6647785" y="2027915"/>
                <a:ext cx="48741" cy="142648"/>
              </a:xfrm>
              <a:custGeom>
                <a:avLst/>
                <a:gdLst>
                  <a:gd name="connsiteX0" fmla="*/ 2962 w 17888"/>
                  <a:gd name="connsiteY0" fmla="*/ 52341 h 52352"/>
                  <a:gd name="connsiteX1" fmla="*/ 9317 w 17888"/>
                  <a:gd name="connsiteY1" fmla="*/ 7461 h 52352"/>
                  <a:gd name="connsiteX2" fmla="*/ 6154 w 17888"/>
                  <a:gd name="connsiteY2" fmla="*/ 49133 h 52352"/>
                  <a:gd name="connsiteX3" fmla="*/ -220 w 17888"/>
                  <a:gd name="connsiteY3" fmla="*/ -12 h 52352"/>
                  <a:gd name="connsiteX4" fmla="*/ 2962 w 17888"/>
                  <a:gd name="connsiteY4" fmla="*/ 52341 h 5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8" h="52352">
                    <a:moveTo>
                      <a:pt x="2962" y="52341"/>
                    </a:moveTo>
                    <a:cubicBezTo>
                      <a:pt x="8069" y="40383"/>
                      <a:pt x="5572" y="20772"/>
                      <a:pt x="9317" y="7461"/>
                    </a:cubicBezTo>
                    <a:cubicBezTo>
                      <a:pt x="10040" y="23165"/>
                      <a:pt x="8735" y="36788"/>
                      <a:pt x="6154" y="49133"/>
                    </a:cubicBezTo>
                    <a:cubicBezTo>
                      <a:pt x="25378" y="41405"/>
                      <a:pt x="18657" y="2258"/>
                      <a:pt x="-220" y="-12"/>
                    </a:cubicBezTo>
                    <a:cubicBezTo>
                      <a:pt x="4624" y="15900"/>
                      <a:pt x="-4472" y="44120"/>
                      <a:pt x="2962" y="52341"/>
                    </a:cubicBezTo>
                    <a:close/>
                  </a:path>
                </a:pathLst>
              </a:custGeom>
              <a:solidFill>
                <a:schemeClr val="bg1"/>
              </a:solidFill>
              <a:ln w="9318" cap="flat">
                <a:noFill/>
                <a:prstDash val="solid"/>
                <a:round/>
              </a:ln>
            </p:spPr>
            <p:txBody>
              <a:bodyPr rtlCol="0" anchor="ctr"/>
              <a:lstStyle/>
              <a:p>
                <a:endParaRPr lang="en-LT"/>
              </a:p>
            </p:txBody>
          </p:sp>
          <p:sp>
            <p:nvSpPr>
              <p:cNvPr id="160" name="Freeform 159">
                <a:extLst>
                  <a:ext uri="{FF2B5EF4-FFF2-40B4-BE49-F238E27FC236}">
                    <a16:creationId xmlns:a16="http://schemas.microsoft.com/office/drawing/2014/main" id="{9497DB0B-1430-B445-B72B-6369AD886DD7}"/>
                  </a:ext>
                </a:extLst>
              </p:cNvPr>
              <p:cNvSpPr/>
              <p:nvPr/>
            </p:nvSpPr>
            <p:spPr>
              <a:xfrm>
                <a:off x="6593614" y="2033740"/>
                <a:ext cx="8390" cy="26215"/>
              </a:xfrm>
              <a:custGeom>
                <a:avLst/>
                <a:gdLst>
                  <a:gd name="connsiteX0" fmla="*/ 1647 w 3079"/>
                  <a:gd name="connsiteY0" fmla="*/ -12 h 9621"/>
                  <a:gd name="connsiteX1" fmla="*/ 2698 w 3079"/>
                  <a:gd name="connsiteY1" fmla="*/ 9609 h 9621"/>
                  <a:gd name="connsiteX2" fmla="*/ 1647 w 3079"/>
                  <a:gd name="connsiteY2" fmla="*/ -12 h 9621"/>
                </a:gdLst>
                <a:ahLst/>
                <a:cxnLst>
                  <a:cxn ang="0">
                    <a:pos x="connsiteX0" y="connsiteY0"/>
                  </a:cxn>
                  <a:cxn ang="0">
                    <a:pos x="connsiteX1" y="connsiteY1"/>
                  </a:cxn>
                  <a:cxn ang="0">
                    <a:pos x="connsiteX2" y="connsiteY2"/>
                  </a:cxn>
                </a:cxnLst>
                <a:rect l="l" t="t" r="r" b="b"/>
                <a:pathLst>
                  <a:path w="3079" h="9621">
                    <a:moveTo>
                      <a:pt x="1647" y="-12"/>
                    </a:moveTo>
                    <a:cubicBezTo>
                      <a:pt x="-1788" y="2419"/>
                      <a:pt x="89" y="7452"/>
                      <a:pt x="2698" y="9609"/>
                    </a:cubicBezTo>
                    <a:cubicBezTo>
                      <a:pt x="2032" y="6704"/>
                      <a:pt x="4041" y="1123"/>
                      <a:pt x="1647" y="-12"/>
                    </a:cubicBezTo>
                    <a:close/>
                  </a:path>
                </a:pathLst>
              </a:custGeom>
              <a:solidFill>
                <a:schemeClr val="bg1"/>
              </a:solidFill>
              <a:ln w="9318" cap="flat">
                <a:noFill/>
                <a:prstDash val="solid"/>
                <a:round/>
              </a:ln>
            </p:spPr>
            <p:txBody>
              <a:bodyPr rtlCol="0" anchor="ctr"/>
              <a:lstStyle/>
              <a:p>
                <a:endParaRPr lang="en-LT"/>
              </a:p>
            </p:txBody>
          </p:sp>
          <p:sp>
            <p:nvSpPr>
              <p:cNvPr id="161" name="Freeform 160">
                <a:extLst>
                  <a:ext uri="{FF2B5EF4-FFF2-40B4-BE49-F238E27FC236}">
                    <a16:creationId xmlns:a16="http://schemas.microsoft.com/office/drawing/2014/main" id="{1B974A26-2CF1-3749-B764-EDA73A8B7158}"/>
                  </a:ext>
                </a:extLst>
              </p:cNvPr>
              <p:cNvSpPr/>
              <p:nvPr/>
            </p:nvSpPr>
            <p:spPr>
              <a:xfrm>
                <a:off x="6409443" y="2045367"/>
                <a:ext cx="166135" cy="250345"/>
              </a:xfrm>
              <a:custGeom>
                <a:avLst/>
                <a:gdLst>
                  <a:gd name="connsiteX0" fmla="*/ 10926 w 60972"/>
                  <a:gd name="connsiteY0" fmla="*/ 59814 h 91877"/>
                  <a:gd name="connsiteX1" fmla="*/ 4562 w 60972"/>
                  <a:gd name="connsiteY1" fmla="*/ 91865 h 91877"/>
                  <a:gd name="connsiteX2" fmla="*/ 60752 w 60972"/>
                  <a:gd name="connsiteY2" fmla="*/ 3204 h 91877"/>
                  <a:gd name="connsiteX3" fmla="*/ 55458 w 60972"/>
                  <a:gd name="connsiteY3" fmla="*/ -12 h 91877"/>
                  <a:gd name="connsiteX4" fmla="*/ 10926 w 60972"/>
                  <a:gd name="connsiteY4" fmla="*/ 59814 h 91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72" h="91877">
                    <a:moveTo>
                      <a:pt x="10926" y="59814"/>
                    </a:moveTo>
                    <a:cubicBezTo>
                      <a:pt x="4121" y="71270"/>
                      <a:pt x="-6468" y="83408"/>
                      <a:pt x="4562" y="91865"/>
                    </a:cubicBezTo>
                    <a:cubicBezTo>
                      <a:pt x="19769" y="59474"/>
                      <a:pt x="45790" y="32285"/>
                      <a:pt x="60752" y="3204"/>
                    </a:cubicBezTo>
                    <a:cubicBezTo>
                      <a:pt x="60020" y="1085"/>
                      <a:pt x="57927" y="357"/>
                      <a:pt x="55458" y="-12"/>
                    </a:cubicBezTo>
                    <a:cubicBezTo>
                      <a:pt x="41218" y="15616"/>
                      <a:pt x="24378" y="37157"/>
                      <a:pt x="10926" y="59814"/>
                    </a:cubicBezTo>
                    <a:close/>
                  </a:path>
                </a:pathLst>
              </a:custGeom>
              <a:solidFill>
                <a:schemeClr val="bg1"/>
              </a:solidFill>
              <a:ln w="9318" cap="flat">
                <a:noFill/>
                <a:prstDash val="solid"/>
                <a:round/>
              </a:ln>
            </p:spPr>
            <p:txBody>
              <a:bodyPr rtlCol="0" anchor="ctr"/>
              <a:lstStyle/>
              <a:p>
                <a:endParaRPr lang="en-LT"/>
              </a:p>
            </p:txBody>
          </p:sp>
          <p:sp>
            <p:nvSpPr>
              <p:cNvPr id="162" name="Freeform 161">
                <a:extLst>
                  <a:ext uri="{FF2B5EF4-FFF2-40B4-BE49-F238E27FC236}">
                    <a16:creationId xmlns:a16="http://schemas.microsoft.com/office/drawing/2014/main" id="{B010B3ED-E947-3641-B9DE-FA3222DF2A43}"/>
                  </a:ext>
                </a:extLst>
              </p:cNvPr>
              <p:cNvSpPr/>
              <p:nvPr/>
            </p:nvSpPr>
            <p:spPr>
              <a:xfrm>
                <a:off x="6427939" y="2062893"/>
                <a:ext cx="209277" cy="346878"/>
              </a:xfrm>
              <a:custGeom>
                <a:avLst/>
                <a:gdLst>
                  <a:gd name="connsiteX0" fmla="*/ -104 w 76805"/>
                  <a:gd name="connsiteY0" fmla="*/ 90777 h 127305"/>
                  <a:gd name="connsiteX1" fmla="*/ 60310 w 76805"/>
                  <a:gd name="connsiteY1" fmla="*/ 10659 h 127305"/>
                  <a:gd name="connsiteX2" fmla="*/ 13676 w 76805"/>
                  <a:gd name="connsiteY2" fmla="*/ 77959 h 127305"/>
                  <a:gd name="connsiteX3" fmla="*/ 11564 w 76805"/>
                  <a:gd name="connsiteY3" fmla="*/ 76890 h 127305"/>
                  <a:gd name="connsiteX4" fmla="*/ 2017 w 76805"/>
                  <a:gd name="connsiteY4" fmla="*/ 98251 h 127305"/>
                  <a:gd name="connsiteX5" fmla="*/ 15797 w 76805"/>
                  <a:gd name="connsiteY5" fmla="*/ 79018 h 127305"/>
                  <a:gd name="connsiteX6" fmla="*/ 17928 w 76805"/>
                  <a:gd name="connsiteY6" fmla="*/ 80097 h 127305"/>
                  <a:gd name="connsiteX7" fmla="*/ 60310 w 76805"/>
                  <a:gd name="connsiteY7" fmla="*/ 22399 h 127305"/>
                  <a:gd name="connsiteX8" fmla="*/ 56077 w 76805"/>
                  <a:gd name="connsiteY8" fmla="*/ 32011 h 127305"/>
                  <a:gd name="connsiteX9" fmla="*/ 59259 w 76805"/>
                  <a:gd name="connsiteY9" fmla="*/ 33098 h 127305"/>
                  <a:gd name="connsiteX10" fmla="*/ 7330 w 76805"/>
                  <a:gd name="connsiteY10" fmla="*/ 110010 h 127305"/>
                  <a:gd name="connsiteX11" fmla="*/ 29587 w 76805"/>
                  <a:gd name="connsiteY11" fmla="*/ 127095 h 127305"/>
                  <a:gd name="connsiteX12" fmla="*/ 67735 w 76805"/>
                  <a:gd name="connsiteY12" fmla="*/ 29873 h 127305"/>
                  <a:gd name="connsiteX13" fmla="*/ 57147 w 76805"/>
                  <a:gd name="connsiteY13" fmla="*/ -12 h 127305"/>
                  <a:gd name="connsiteX14" fmla="*/ 11564 w 76805"/>
                  <a:gd name="connsiteY14" fmla="*/ 66209 h 127305"/>
                  <a:gd name="connsiteX15" fmla="*/ -104 w 76805"/>
                  <a:gd name="connsiteY15" fmla="*/ 90777 h 12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05" h="127305">
                    <a:moveTo>
                      <a:pt x="-104" y="90777"/>
                    </a:moveTo>
                    <a:cubicBezTo>
                      <a:pt x="19130" y="63154"/>
                      <a:pt x="37068" y="34215"/>
                      <a:pt x="60310" y="10659"/>
                    </a:cubicBezTo>
                    <a:cubicBezTo>
                      <a:pt x="45976" y="33647"/>
                      <a:pt x="22678" y="53116"/>
                      <a:pt x="13676" y="77959"/>
                    </a:cubicBezTo>
                    <a:cubicBezTo>
                      <a:pt x="13741" y="75963"/>
                      <a:pt x="12869" y="75698"/>
                      <a:pt x="11564" y="76890"/>
                    </a:cubicBezTo>
                    <a:cubicBezTo>
                      <a:pt x="9386" y="85026"/>
                      <a:pt x="2073" y="87977"/>
                      <a:pt x="2017" y="98251"/>
                    </a:cubicBezTo>
                    <a:cubicBezTo>
                      <a:pt x="8588" y="93975"/>
                      <a:pt x="14549" y="85309"/>
                      <a:pt x="15797" y="79018"/>
                    </a:cubicBezTo>
                    <a:cubicBezTo>
                      <a:pt x="15750" y="81014"/>
                      <a:pt x="16614" y="81289"/>
                      <a:pt x="17928" y="80097"/>
                    </a:cubicBezTo>
                    <a:cubicBezTo>
                      <a:pt x="29521" y="58319"/>
                      <a:pt x="47901" y="43363"/>
                      <a:pt x="60310" y="22399"/>
                    </a:cubicBezTo>
                    <a:cubicBezTo>
                      <a:pt x="59672" y="26363"/>
                      <a:pt x="57335" y="28662"/>
                      <a:pt x="56077" y="32011"/>
                    </a:cubicBezTo>
                    <a:cubicBezTo>
                      <a:pt x="55767" y="35359"/>
                      <a:pt x="59137" y="29305"/>
                      <a:pt x="59259" y="33098"/>
                    </a:cubicBezTo>
                    <a:cubicBezTo>
                      <a:pt x="43921" y="60713"/>
                      <a:pt x="20725" y="80428"/>
                      <a:pt x="7330" y="110010"/>
                    </a:cubicBezTo>
                    <a:cubicBezTo>
                      <a:pt x="13122" y="120170"/>
                      <a:pt x="18501" y="125913"/>
                      <a:pt x="29587" y="127095"/>
                    </a:cubicBezTo>
                    <a:cubicBezTo>
                      <a:pt x="70213" y="131466"/>
                      <a:pt x="89016" y="62378"/>
                      <a:pt x="67735" y="29873"/>
                    </a:cubicBezTo>
                    <a:cubicBezTo>
                      <a:pt x="66628" y="17470"/>
                      <a:pt x="61577" y="9041"/>
                      <a:pt x="57147" y="-12"/>
                    </a:cubicBezTo>
                    <a:cubicBezTo>
                      <a:pt x="39969" y="19627"/>
                      <a:pt x="25212" y="43770"/>
                      <a:pt x="11564" y="66209"/>
                    </a:cubicBezTo>
                    <a:cubicBezTo>
                      <a:pt x="6880" y="73900"/>
                      <a:pt x="-1287" y="81014"/>
                      <a:pt x="-104" y="90777"/>
                    </a:cubicBezTo>
                    <a:close/>
                  </a:path>
                </a:pathLst>
              </a:custGeom>
              <a:solidFill>
                <a:schemeClr val="bg1"/>
              </a:solidFill>
              <a:ln w="9318" cap="flat">
                <a:noFill/>
                <a:prstDash val="solid"/>
                <a:round/>
              </a:ln>
            </p:spPr>
            <p:txBody>
              <a:bodyPr rtlCol="0" anchor="ctr"/>
              <a:lstStyle/>
              <a:p>
                <a:endParaRPr lang="en-LT"/>
              </a:p>
            </p:txBody>
          </p:sp>
          <p:sp>
            <p:nvSpPr>
              <p:cNvPr id="163" name="Freeform 162">
                <a:extLst>
                  <a:ext uri="{FF2B5EF4-FFF2-40B4-BE49-F238E27FC236}">
                    <a16:creationId xmlns:a16="http://schemas.microsoft.com/office/drawing/2014/main" id="{EA1DD9B9-6D4E-C44C-A522-84F5C939EB6A}"/>
                  </a:ext>
                </a:extLst>
              </p:cNvPr>
              <p:cNvSpPr/>
              <p:nvPr/>
            </p:nvSpPr>
            <p:spPr>
              <a:xfrm>
                <a:off x="6517036" y="2470351"/>
                <a:ext cx="9060" cy="37815"/>
              </a:xfrm>
              <a:custGeom>
                <a:avLst/>
                <a:gdLst>
                  <a:gd name="connsiteX0" fmla="*/ 2172 w 3325"/>
                  <a:gd name="connsiteY0" fmla="*/ 13866 h 13878"/>
                  <a:gd name="connsiteX1" fmla="*/ 50 w 3325"/>
                  <a:gd name="connsiteY1" fmla="*/ -12 h 13878"/>
                  <a:gd name="connsiteX2" fmla="*/ 2172 w 3325"/>
                  <a:gd name="connsiteY2" fmla="*/ 13866 h 13878"/>
                </a:gdLst>
                <a:ahLst/>
                <a:cxnLst>
                  <a:cxn ang="0">
                    <a:pos x="connsiteX0" y="connsiteY0"/>
                  </a:cxn>
                  <a:cxn ang="0">
                    <a:pos x="connsiteX1" y="connsiteY1"/>
                  </a:cxn>
                  <a:cxn ang="0">
                    <a:pos x="connsiteX2" y="connsiteY2"/>
                  </a:cxn>
                </a:cxnLst>
                <a:rect l="l" t="t" r="r" b="b"/>
                <a:pathLst>
                  <a:path w="3325" h="13878">
                    <a:moveTo>
                      <a:pt x="2172" y="13866"/>
                    </a:moveTo>
                    <a:cubicBezTo>
                      <a:pt x="4753" y="10176"/>
                      <a:pt x="1299" y="3412"/>
                      <a:pt x="50" y="-12"/>
                    </a:cubicBezTo>
                    <a:cubicBezTo>
                      <a:pt x="1205" y="4169"/>
                      <a:pt x="-2400" y="13137"/>
                      <a:pt x="2172" y="13866"/>
                    </a:cubicBezTo>
                    <a:close/>
                  </a:path>
                </a:pathLst>
              </a:custGeom>
              <a:solidFill>
                <a:schemeClr val="bg1"/>
              </a:solidFill>
              <a:ln w="9318" cap="flat">
                <a:noFill/>
                <a:prstDash val="solid"/>
                <a:round/>
              </a:ln>
            </p:spPr>
            <p:txBody>
              <a:bodyPr rtlCol="0" anchor="ctr"/>
              <a:lstStyle/>
              <a:p>
                <a:endParaRPr lang="en-LT"/>
              </a:p>
            </p:txBody>
          </p:sp>
          <p:sp>
            <p:nvSpPr>
              <p:cNvPr id="164" name="Freeform 163">
                <a:extLst>
                  <a:ext uri="{FF2B5EF4-FFF2-40B4-BE49-F238E27FC236}">
                    <a16:creationId xmlns:a16="http://schemas.microsoft.com/office/drawing/2014/main" id="{B3966A7B-9D59-C447-AC57-B5BF207145FE}"/>
                  </a:ext>
                </a:extLst>
              </p:cNvPr>
              <p:cNvSpPr/>
              <p:nvPr/>
            </p:nvSpPr>
            <p:spPr>
              <a:xfrm>
                <a:off x="6506265" y="3124814"/>
                <a:ext cx="75068" cy="12128"/>
              </a:xfrm>
              <a:custGeom>
                <a:avLst/>
                <a:gdLst>
                  <a:gd name="connsiteX0" fmla="*/ 1892 w 27550"/>
                  <a:gd name="connsiteY0" fmla="*/ 4440 h 4451"/>
                  <a:gd name="connsiteX1" fmla="*/ 23107 w 27550"/>
                  <a:gd name="connsiteY1" fmla="*/ 2302 h 4451"/>
                  <a:gd name="connsiteX2" fmla="*/ 27331 w 27550"/>
                  <a:gd name="connsiteY2" fmla="*/ 2302 h 4451"/>
                  <a:gd name="connsiteX3" fmla="*/ 23107 w 27550"/>
                  <a:gd name="connsiteY3" fmla="*/ 1233 h 4451"/>
                  <a:gd name="connsiteX4" fmla="*/ -220 w 27550"/>
                  <a:gd name="connsiteY4" fmla="*/ 2302 h 4451"/>
                  <a:gd name="connsiteX5" fmla="*/ 1892 w 27550"/>
                  <a:gd name="connsiteY5" fmla="*/ 4440 h 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50" h="4451">
                    <a:moveTo>
                      <a:pt x="1892" y="4440"/>
                    </a:moveTo>
                    <a:cubicBezTo>
                      <a:pt x="7036" y="1791"/>
                      <a:pt x="17700" y="4714"/>
                      <a:pt x="23107" y="2302"/>
                    </a:cubicBezTo>
                    <a:lnTo>
                      <a:pt x="27331" y="2302"/>
                    </a:lnTo>
                    <a:cubicBezTo>
                      <a:pt x="27124" y="722"/>
                      <a:pt x="24777" y="1327"/>
                      <a:pt x="23107" y="1233"/>
                    </a:cubicBezTo>
                    <a:cubicBezTo>
                      <a:pt x="14827" y="3276"/>
                      <a:pt x="4549" y="-3289"/>
                      <a:pt x="-220" y="2302"/>
                    </a:cubicBezTo>
                    <a:cubicBezTo>
                      <a:pt x="15" y="3494"/>
                      <a:pt x="963" y="3957"/>
                      <a:pt x="1892" y="4440"/>
                    </a:cubicBezTo>
                    <a:close/>
                  </a:path>
                </a:pathLst>
              </a:custGeom>
              <a:solidFill>
                <a:schemeClr val="bg1"/>
              </a:solidFill>
              <a:ln w="9318" cap="flat">
                <a:noFill/>
                <a:prstDash val="solid"/>
                <a:round/>
              </a:ln>
            </p:spPr>
            <p:txBody>
              <a:bodyPr rtlCol="0" anchor="ctr"/>
              <a:lstStyle/>
              <a:p>
                <a:endParaRPr lang="en-LT"/>
              </a:p>
            </p:txBody>
          </p:sp>
          <p:sp>
            <p:nvSpPr>
              <p:cNvPr id="165" name="Freeform 164">
                <a:extLst>
                  <a:ext uri="{FF2B5EF4-FFF2-40B4-BE49-F238E27FC236}">
                    <a16:creationId xmlns:a16="http://schemas.microsoft.com/office/drawing/2014/main" id="{49E63730-D4AB-5E43-85B9-A47C8348C9BD}"/>
                  </a:ext>
                </a:extLst>
              </p:cNvPr>
              <p:cNvSpPr/>
              <p:nvPr/>
            </p:nvSpPr>
            <p:spPr>
              <a:xfrm>
                <a:off x="6939495" y="3564714"/>
                <a:ext cx="60643" cy="433851"/>
              </a:xfrm>
              <a:custGeom>
                <a:avLst/>
                <a:gdLst>
                  <a:gd name="connsiteX0" fmla="*/ 22037 w 22256"/>
                  <a:gd name="connsiteY0" fmla="*/ 1085 h 159224"/>
                  <a:gd name="connsiteX1" fmla="*/ 20976 w 22256"/>
                  <a:gd name="connsiteY1" fmla="*/ 25 h 159224"/>
                  <a:gd name="connsiteX2" fmla="*/ 15682 w 22256"/>
                  <a:gd name="connsiteY2" fmla="*/ 8587 h 159224"/>
                  <a:gd name="connsiteX3" fmla="*/ 8266 w 22256"/>
                  <a:gd name="connsiteY3" fmla="*/ 84429 h 159224"/>
                  <a:gd name="connsiteX4" fmla="*/ -220 w 22256"/>
                  <a:gd name="connsiteY4" fmla="*/ 159212 h 159224"/>
                  <a:gd name="connsiteX5" fmla="*/ 9317 w 22256"/>
                  <a:gd name="connsiteY5" fmla="*/ 126082 h 159224"/>
                  <a:gd name="connsiteX6" fmla="*/ 22037 w 22256"/>
                  <a:gd name="connsiteY6" fmla="*/ 1085 h 15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6" h="159224">
                    <a:moveTo>
                      <a:pt x="22037" y="1085"/>
                    </a:moveTo>
                    <a:cubicBezTo>
                      <a:pt x="21980" y="451"/>
                      <a:pt x="21886" y="-173"/>
                      <a:pt x="20976" y="25"/>
                    </a:cubicBezTo>
                    <a:cubicBezTo>
                      <a:pt x="19098" y="3005"/>
                      <a:pt x="16414" y="5209"/>
                      <a:pt x="15682" y="8587"/>
                    </a:cubicBezTo>
                    <a:cubicBezTo>
                      <a:pt x="11129" y="29636"/>
                      <a:pt x="10735" y="57761"/>
                      <a:pt x="8266" y="84429"/>
                    </a:cubicBezTo>
                    <a:cubicBezTo>
                      <a:pt x="5788" y="110833"/>
                      <a:pt x="2305" y="137151"/>
                      <a:pt x="-220" y="159212"/>
                    </a:cubicBezTo>
                    <a:cubicBezTo>
                      <a:pt x="9317" y="153877"/>
                      <a:pt x="7543" y="138513"/>
                      <a:pt x="9317" y="126082"/>
                    </a:cubicBezTo>
                    <a:cubicBezTo>
                      <a:pt x="15062" y="85877"/>
                      <a:pt x="15503" y="37904"/>
                      <a:pt x="22037" y="1085"/>
                    </a:cubicBezTo>
                    <a:close/>
                  </a:path>
                </a:pathLst>
              </a:custGeom>
              <a:solidFill>
                <a:schemeClr val="bg1"/>
              </a:solidFill>
              <a:ln w="9318" cap="flat">
                <a:noFill/>
                <a:prstDash val="solid"/>
                <a:round/>
              </a:ln>
            </p:spPr>
            <p:txBody>
              <a:bodyPr rtlCol="0" anchor="ctr"/>
              <a:lstStyle/>
              <a:p>
                <a:endParaRPr lang="en-LT"/>
              </a:p>
            </p:txBody>
          </p:sp>
          <p:sp>
            <p:nvSpPr>
              <p:cNvPr id="166" name="Freeform 165">
                <a:extLst>
                  <a:ext uri="{FF2B5EF4-FFF2-40B4-BE49-F238E27FC236}">
                    <a16:creationId xmlns:a16="http://schemas.microsoft.com/office/drawing/2014/main" id="{CF055391-4371-4243-9BDD-DA4DEE591383}"/>
                  </a:ext>
                </a:extLst>
              </p:cNvPr>
              <p:cNvSpPr/>
              <p:nvPr/>
            </p:nvSpPr>
            <p:spPr>
              <a:xfrm>
                <a:off x="6425364" y="3803410"/>
                <a:ext cx="106861" cy="116509"/>
              </a:xfrm>
              <a:custGeom>
                <a:avLst/>
                <a:gdLst>
                  <a:gd name="connsiteX0" fmla="*/ 36896 w 39218"/>
                  <a:gd name="connsiteY0" fmla="*/ 25 h 42759"/>
                  <a:gd name="connsiteX1" fmla="*/ 16742 w 39218"/>
                  <a:gd name="connsiteY1" fmla="*/ 19258 h 42759"/>
                  <a:gd name="connsiteX2" fmla="*/ -220 w 39218"/>
                  <a:gd name="connsiteY2" fmla="*/ 42748 h 42759"/>
                  <a:gd name="connsiteX3" fmla="*/ 19925 w 39218"/>
                  <a:gd name="connsiteY3" fmla="*/ 23534 h 42759"/>
                  <a:gd name="connsiteX4" fmla="*/ 38999 w 39218"/>
                  <a:gd name="connsiteY4" fmla="*/ 1094 h 42759"/>
                  <a:gd name="connsiteX5" fmla="*/ 36896 w 39218"/>
                  <a:gd name="connsiteY5" fmla="*/ 25 h 4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8" h="42759">
                    <a:moveTo>
                      <a:pt x="36896" y="25"/>
                    </a:moveTo>
                    <a:cubicBezTo>
                      <a:pt x="31208" y="7452"/>
                      <a:pt x="23623" y="12967"/>
                      <a:pt x="16742" y="19258"/>
                    </a:cubicBezTo>
                    <a:cubicBezTo>
                      <a:pt x="10209" y="25256"/>
                      <a:pt x="-4" y="30970"/>
                      <a:pt x="-220" y="42748"/>
                    </a:cubicBezTo>
                    <a:cubicBezTo>
                      <a:pt x="6942" y="39087"/>
                      <a:pt x="13081" y="30431"/>
                      <a:pt x="19925" y="23534"/>
                    </a:cubicBezTo>
                    <a:cubicBezTo>
                      <a:pt x="26561" y="16827"/>
                      <a:pt x="37121" y="11198"/>
                      <a:pt x="38999" y="1094"/>
                    </a:cubicBezTo>
                    <a:cubicBezTo>
                      <a:pt x="38774" y="271"/>
                      <a:pt x="38126" y="-145"/>
                      <a:pt x="36896" y="25"/>
                    </a:cubicBezTo>
                    <a:close/>
                  </a:path>
                </a:pathLst>
              </a:custGeom>
              <a:solidFill>
                <a:schemeClr val="bg1"/>
              </a:solidFill>
              <a:ln w="9318" cap="flat">
                <a:noFill/>
                <a:prstDash val="solid"/>
                <a:round/>
              </a:ln>
            </p:spPr>
            <p:txBody>
              <a:bodyPr rtlCol="0" anchor="ctr"/>
              <a:lstStyle/>
              <a:p>
                <a:endParaRPr lang="en-LT"/>
              </a:p>
            </p:txBody>
          </p:sp>
          <p:sp>
            <p:nvSpPr>
              <p:cNvPr id="167" name="Freeform 166">
                <a:extLst>
                  <a:ext uri="{FF2B5EF4-FFF2-40B4-BE49-F238E27FC236}">
                    <a16:creationId xmlns:a16="http://schemas.microsoft.com/office/drawing/2014/main" id="{71153FFF-0F62-8E4B-8C1D-F5E370973717}"/>
                  </a:ext>
                </a:extLst>
              </p:cNvPr>
              <p:cNvSpPr/>
              <p:nvPr/>
            </p:nvSpPr>
            <p:spPr>
              <a:xfrm>
                <a:off x="6427601" y="3832614"/>
                <a:ext cx="100149" cy="133961"/>
              </a:xfrm>
              <a:custGeom>
                <a:avLst/>
                <a:gdLst>
                  <a:gd name="connsiteX0" fmla="*/ 36075 w 36755"/>
                  <a:gd name="connsiteY0" fmla="*/ -12 h 49164"/>
                  <a:gd name="connsiteX1" fmla="*/ 18052 w 36755"/>
                  <a:gd name="connsiteY1" fmla="*/ 18161 h 49164"/>
                  <a:gd name="connsiteX2" fmla="*/ 1080 w 36755"/>
                  <a:gd name="connsiteY2" fmla="*/ 49152 h 49164"/>
                  <a:gd name="connsiteX3" fmla="*/ 36075 w 36755"/>
                  <a:gd name="connsiteY3" fmla="*/ -12 h 49164"/>
                </a:gdLst>
                <a:ahLst/>
                <a:cxnLst>
                  <a:cxn ang="0">
                    <a:pos x="connsiteX0" y="connsiteY0"/>
                  </a:cxn>
                  <a:cxn ang="0">
                    <a:pos x="connsiteX1" y="connsiteY1"/>
                  </a:cxn>
                  <a:cxn ang="0">
                    <a:pos x="connsiteX2" y="connsiteY2"/>
                  </a:cxn>
                  <a:cxn ang="0">
                    <a:pos x="connsiteX3" y="connsiteY3"/>
                  </a:cxn>
                </a:cxnLst>
                <a:rect l="l" t="t" r="r" b="b"/>
                <a:pathLst>
                  <a:path w="36755" h="49164">
                    <a:moveTo>
                      <a:pt x="36075" y="-12"/>
                    </a:moveTo>
                    <a:cubicBezTo>
                      <a:pt x="30499" y="4311"/>
                      <a:pt x="24970" y="11170"/>
                      <a:pt x="18052" y="18161"/>
                    </a:cubicBezTo>
                    <a:cubicBezTo>
                      <a:pt x="9519" y="26713"/>
                      <a:pt x="-4571" y="33212"/>
                      <a:pt x="1080" y="49152"/>
                    </a:cubicBezTo>
                    <a:cubicBezTo>
                      <a:pt x="10711" y="35690"/>
                      <a:pt x="40590" y="27706"/>
                      <a:pt x="36075" y="-12"/>
                    </a:cubicBezTo>
                    <a:close/>
                  </a:path>
                </a:pathLst>
              </a:custGeom>
              <a:solidFill>
                <a:schemeClr val="bg1"/>
              </a:solidFill>
              <a:ln w="9318" cap="flat">
                <a:noFill/>
                <a:prstDash val="solid"/>
                <a:round/>
              </a:ln>
            </p:spPr>
            <p:txBody>
              <a:bodyPr rtlCol="0" anchor="ctr"/>
              <a:lstStyle/>
              <a:p>
                <a:endParaRPr lang="en-LT"/>
              </a:p>
            </p:txBody>
          </p:sp>
          <p:sp>
            <p:nvSpPr>
              <p:cNvPr id="168" name="Freeform 167">
                <a:extLst>
                  <a:ext uri="{FF2B5EF4-FFF2-40B4-BE49-F238E27FC236}">
                    <a16:creationId xmlns:a16="http://schemas.microsoft.com/office/drawing/2014/main" id="{ECAD150F-ED7C-7E41-BD60-5F36C86A290C}"/>
                  </a:ext>
                </a:extLst>
              </p:cNvPr>
              <p:cNvSpPr/>
              <p:nvPr/>
            </p:nvSpPr>
            <p:spPr>
              <a:xfrm>
                <a:off x="6431143" y="3887958"/>
                <a:ext cx="95757" cy="110607"/>
              </a:xfrm>
              <a:custGeom>
                <a:avLst/>
                <a:gdLst>
                  <a:gd name="connsiteX0" fmla="*/ 33695 w 35143"/>
                  <a:gd name="connsiteY0" fmla="*/ -12 h 40593"/>
                  <a:gd name="connsiteX1" fmla="*/ 14621 w 35143"/>
                  <a:gd name="connsiteY1" fmla="*/ 18132 h 40593"/>
                  <a:gd name="connsiteX2" fmla="*/ -220 w 35143"/>
                  <a:gd name="connsiteY2" fmla="*/ 40581 h 40593"/>
                  <a:gd name="connsiteX3" fmla="*/ 34775 w 35143"/>
                  <a:gd name="connsiteY3" fmla="*/ 10649 h 40593"/>
                  <a:gd name="connsiteX4" fmla="*/ 33695 w 35143"/>
                  <a:gd name="connsiteY4" fmla="*/ -12 h 40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3" h="40593">
                    <a:moveTo>
                      <a:pt x="33695" y="-12"/>
                    </a:moveTo>
                    <a:cubicBezTo>
                      <a:pt x="28551" y="7253"/>
                      <a:pt x="20957" y="12002"/>
                      <a:pt x="14621" y="18132"/>
                    </a:cubicBezTo>
                    <a:cubicBezTo>
                      <a:pt x="8810" y="23771"/>
                      <a:pt x="-41" y="29863"/>
                      <a:pt x="-220" y="40581"/>
                    </a:cubicBezTo>
                    <a:cubicBezTo>
                      <a:pt x="10875" y="34281"/>
                      <a:pt x="23623" y="20441"/>
                      <a:pt x="34775" y="10649"/>
                    </a:cubicBezTo>
                    <a:cubicBezTo>
                      <a:pt x="34089" y="7395"/>
                      <a:pt x="36117" y="1464"/>
                      <a:pt x="33695" y="-12"/>
                    </a:cubicBezTo>
                    <a:close/>
                  </a:path>
                </a:pathLst>
              </a:custGeom>
              <a:solidFill>
                <a:schemeClr val="bg1"/>
              </a:solidFill>
              <a:ln w="9318" cap="flat">
                <a:noFill/>
                <a:prstDash val="solid"/>
                <a:round/>
              </a:ln>
            </p:spPr>
            <p:txBody>
              <a:bodyPr rtlCol="0" anchor="ctr"/>
              <a:lstStyle/>
              <a:p>
                <a:endParaRPr lang="en-LT"/>
              </a:p>
            </p:txBody>
          </p:sp>
          <p:sp>
            <p:nvSpPr>
              <p:cNvPr id="169" name="Freeform 168">
                <a:extLst>
                  <a:ext uri="{FF2B5EF4-FFF2-40B4-BE49-F238E27FC236}">
                    <a16:creationId xmlns:a16="http://schemas.microsoft.com/office/drawing/2014/main" id="{F15EA06A-85A6-164D-999F-92268552D5E9}"/>
                  </a:ext>
                </a:extLst>
              </p:cNvPr>
              <p:cNvSpPr/>
              <p:nvPr/>
            </p:nvSpPr>
            <p:spPr>
              <a:xfrm>
                <a:off x="6434034" y="3928633"/>
                <a:ext cx="90024" cy="116484"/>
              </a:xfrm>
              <a:custGeom>
                <a:avLst/>
                <a:gdLst>
                  <a:gd name="connsiteX0" fmla="*/ 31583 w 33039"/>
                  <a:gd name="connsiteY0" fmla="*/ -12 h 42750"/>
                  <a:gd name="connsiteX1" fmla="*/ -220 w 33039"/>
                  <a:gd name="connsiteY1" fmla="*/ 28851 h 42750"/>
                  <a:gd name="connsiteX2" fmla="*/ -220 w 33039"/>
                  <a:gd name="connsiteY2" fmla="*/ 42738 h 42750"/>
                  <a:gd name="connsiteX3" fmla="*/ 32634 w 33039"/>
                  <a:gd name="connsiteY3" fmla="*/ 13913 h 42750"/>
                  <a:gd name="connsiteX4" fmla="*/ 31583 w 33039"/>
                  <a:gd name="connsiteY4" fmla="*/ -12 h 4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39" h="42750">
                    <a:moveTo>
                      <a:pt x="31583" y="-12"/>
                    </a:moveTo>
                    <a:cubicBezTo>
                      <a:pt x="21483" y="10110"/>
                      <a:pt x="10829" y="19665"/>
                      <a:pt x="-220" y="28851"/>
                    </a:cubicBezTo>
                    <a:lnTo>
                      <a:pt x="-220" y="42738"/>
                    </a:lnTo>
                    <a:cubicBezTo>
                      <a:pt x="11880" y="34262"/>
                      <a:pt x="20807" y="22588"/>
                      <a:pt x="32634" y="13913"/>
                    </a:cubicBezTo>
                    <a:cubicBezTo>
                      <a:pt x="31968" y="9599"/>
                      <a:pt x="34033" y="2523"/>
                      <a:pt x="31583" y="-12"/>
                    </a:cubicBezTo>
                    <a:close/>
                  </a:path>
                </a:pathLst>
              </a:custGeom>
              <a:solidFill>
                <a:schemeClr val="bg1"/>
              </a:solidFill>
              <a:ln w="9318" cap="flat">
                <a:noFill/>
                <a:prstDash val="solid"/>
                <a:round/>
              </a:ln>
            </p:spPr>
            <p:txBody>
              <a:bodyPr rtlCol="0" anchor="ctr"/>
              <a:lstStyle/>
              <a:p>
                <a:endParaRPr lang="en-LT"/>
              </a:p>
            </p:txBody>
          </p:sp>
          <p:sp>
            <p:nvSpPr>
              <p:cNvPr id="170" name="Freeform 169">
                <a:extLst>
                  <a:ext uri="{FF2B5EF4-FFF2-40B4-BE49-F238E27FC236}">
                    <a16:creationId xmlns:a16="http://schemas.microsoft.com/office/drawing/2014/main" id="{0CCD2675-1082-E347-B4F0-E2EC9C3372E0}"/>
                  </a:ext>
                </a:extLst>
              </p:cNvPr>
              <p:cNvSpPr/>
              <p:nvPr/>
            </p:nvSpPr>
            <p:spPr>
              <a:xfrm>
                <a:off x="6436925" y="3975290"/>
                <a:ext cx="89572" cy="98931"/>
              </a:xfrm>
              <a:custGeom>
                <a:avLst/>
                <a:gdLst>
                  <a:gd name="connsiteX0" fmla="*/ 32653 w 32873"/>
                  <a:gd name="connsiteY0" fmla="*/ 2126 h 36308"/>
                  <a:gd name="connsiteX1" fmla="*/ 30522 w 32873"/>
                  <a:gd name="connsiteY1" fmla="*/ -12 h 36308"/>
                  <a:gd name="connsiteX2" fmla="*/ -220 w 32873"/>
                  <a:gd name="connsiteY2" fmla="*/ 36296 h 36308"/>
                  <a:gd name="connsiteX3" fmla="*/ 32653 w 32873"/>
                  <a:gd name="connsiteY3" fmla="*/ 2126 h 36308"/>
                </a:gdLst>
                <a:ahLst/>
                <a:cxnLst>
                  <a:cxn ang="0">
                    <a:pos x="connsiteX0" y="connsiteY0"/>
                  </a:cxn>
                  <a:cxn ang="0">
                    <a:pos x="connsiteX1" y="connsiteY1"/>
                  </a:cxn>
                  <a:cxn ang="0">
                    <a:pos x="connsiteX2" y="connsiteY2"/>
                  </a:cxn>
                  <a:cxn ang="0">
                    <a:pos x="connsiteX3" y="connsiteY3"/>
                  </a:cxn>
                </a:cxnLst>
                <a:rect l="l" t="t" r="r" b="b"/>
                <a:pathLst>
                  <a:path w="32873" h="36308">
                    <a:moveTo>
                      <a:pt x="32653" y="2126"/>
                    </a:moveTo>
                    <a:cubicBezTo>
                      <a:pt x="31245" y="2088"/>
                      <a:pt x="31667" y="234"/>
                      <a:pt x="30522" y="-12"/>
                    </a:cubicBezTo>
                    <a:cubicBezTo>
                      <a:pt x="21698" y="13516"/>
                      <a:pt x="3037" y="17139"/>
                      <a:pt x="-220" y="36296"/>
                    </a:cubicBezTo>
                    <a:cubicBezTo>
                      <a:pt x="11936" y="26117"/>
                      <a:pt x="24017" y="15824"/>
                      <a:pt x="32653" y="2126"/>
                    </a:cubicBezTo>
                    <a:close/>
                  </a:path>
                </a:pathLst>
              </a:custGeom>
              <a:solidFill>
                <a:schemeClr val="bg1"/>
              </a:solidFill>
              <a:ln w="9318" cap="flat">
                <a:noFill/>
                <a:prstDash val="solid"/>
                <a:round/>
              </a:ln>
            </p:spPr>
            <p:txBody>
              <a:bodyPr rtlCol="0" anchor="ctr"/>
              <a:lstStyle/>
              <a:p>
                <a:endParaRPr lang="en-LT"/>
              </a:p>
            </p:txBody>
          </p:sp>
          <p:sp>
            <p:nvSpPr>
              <p:cNvPr id="171" name="Freeform 170">
                <a:extLst>
                  <a:ext uri="{FF2B5EF4-FFF2-40B4-BE49-F238E27FC236}">
                    <a16:creationId xmlns:a16="http://schemas.microsoft.com/office/drawing/2014/main" id="{48124BF6-8C69-214E-9A3D-8644365BF45D}"/>
                  </a:ext>
                </a:extLst>
              </p:cNvPr>
              <p:cNvSpPr/>
              <p:nvPr/>
            </p:nvSpPr>
            <p:spPr>
              <a:xfrm>
                <a:off x="6437985" y="4004393"/>
                <a:ext cx="94348" cy="521055"/>
              </a:xfrm>
              <a:custGeom>
                <a:avLst/>
                <a:gdLst>
                  <a:gd name="connsiteX0" fmla="*/ 32264 w 34626"/>
                  <a:gd name="connsiteY0" fmla="*/ -12 h 191228"/>
                  <a:gd name="connsiteX1" fmla="*/ 30133 w 34626"/>
                  <a:gd name="connsiteY1" fmla="*/ -12 h 191228"/>
                  <a:gd name="connsiteX2" fmla="*/ 452 w 34626"/>
                  <a:gd name="connsiteY2" fmla="*/ 30951 h 191228"/>
                  <a:gd name="connsiteX3" fmla="*/ 5746 w 34626"/>
                  <a:gd name="connsiteY3" fmla="*/ 86511 h 191228"/>
                  <a:gd name="connsiteX4" fmla="*/ 11050 w 34626"/>
                  <a:gd name="connsiteY4" fmla="*/ 142042 h 191228"/>
                  <a:gd name="connsiteX5" fmla="*/ 24839 w 34626"/>
                  <a:gd name="connsiteY5" fmla="*/ 191207 h 191228"/>
                  <a:gd name="connsiteX6" fmla="*/ 32264 w 34626"/>
                  <a:gd name="connsiteY6" fmla="*/ 163413 h 191228"/>
                  <a:gd name="connsiteX7" fmla="*/ 32264 w 34626"/>
                  <a:gd name="connsiteY7" fmla="*/ -12 h 1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6" h="191228">
                    <a:moveTo>
                      <a:pt x="32264" y="-12"/>
                    </a:moveTo>
                    <a:lnTo>
                      <a:pt x="30133" y="-12"/>
                    </a:lnTo>
                    <a:cubicBezTo>
                      <a:pt x="23910" y="11009"/>
                      <a:pt x="3624" y="17849"/>
                      <a:pt x="452" y="30951"/>
                    </a:cubicBezTo>
                    <a:cubicBezTo>
                      <a:pt x="-2374" y="42701"/>
                      <a:pt x="4554" y="66540"/>
                      <a:pt x="5746" y="86511"/>
                    </a:cubicBezTo>
                    <a:cubicBezTo>
                      <a:pt x="6994" y="107333"/>
                      <a:pt x="9773" y="128297"/>
                      <a:pt x="11050" y="142042"/>
                    </a:cubicBezTo>
                    <a:cubicBezTo>
                      <a:pt x="12627" y="159023"/>
                      <a:pt x="10308" y="191841"/>
                      <a:pt x="24839" y="191207"/>
                    </a:cubicBezTo>
                    <a:cubicBezTo>
                      <a:pt x="34188" y="190791"/>
                      <a:pt x="32602" y="173743"/>
                      <a:pt x="32264" y="163413"/>
                    </a:cubicBezTo>
                    <a:cubicBezTo>
                      <a:pt x="30527" y="113368"/>
                      <a:pt x="37859" y="51972"/>
                      <a:pt x="32264" y="-12"/>
                    </a:cubicBezTo>
                    <a:close/>
                  </a:path>
                </a:pathLst>
              </a:custGeom>
              <a:solidFill>
                <a:schemeClr val="bg1"/>
              </a:solidFill>
              <a:ln w="9318" cap="flat">
                <a:noFill/>
                <a:prstDash val="solid"/>
                <a:round/>
              </a:ln>
            </p:spPr>
            <p:txBody>
              <a:bodyPr rtlCol="0" anchor="ctr"/>
              <a:lstStyle/>
              <a:p>
                <a:endParaRPr lang="en-LT"/>
              </a:p>
            </p:txBody>
          </p:sp>
          <p:sp>
            <p:nvSpPr>
              <p:cNvPr id="172" name="Freeform 171">
                <a:extLst>
                  <a:ext uri="{FF2B5EF4-FFF2-40B4-BE49-F238E27FC236}">
                    <a16:creationId xmlns:a16="http://schemas.microsoft.com/office/drawing/2014/main" id="{B3416BFE-93AB-0342-ADE8-E720BF72D307}"/>
                  </a:ext>
                </a:extLst>
              </p:cNvPr>
              <p:cNvSpPr/>
              <p:nvPr/>
            </p:nvSpPr>
            <p:spPr>
              <a:xfrm>
                <a:off x="6512020" y="2156001"/>
                <a:ext cx="72229" cy="96070"/>
              </a:xfrm>
              <a:custGeom>
                <a:avLst/>
                <a:gdLst>
                  <a:gd name="connsiteX0" fmla="*/ -220 w 26508"/>
                  <a:gd name="connsiteY0" fmla="*/ 35246 h 35258"/>
                  <a:gd name="connsiteX1" fmla="*/ 26289 w 26508"/>
                  <a:gd name="connsiteY1" fmla="*/ -12 h 35258"/>
                  <a:gd name="connsiteX2" fmla="*/ -220 w 26508"/>
                  <a:gd name="connsiteY2" fmla="*/ 35246 h 35258"/>
                </a:gdLst>
                <a:ahLst/>
                <a:cxnLst>
                  <a:cxn ang="0">
                    <a:pos x="connsiteX0" y="connsiteY0"/>
                  </a:cxn>
                  <a:cxn ang="0">
                    <a:pos x="connsiteX1" y="connsiteY1"/>
                  </a:cxn>
                  <a:cxn ang="0">
                    <a:pos x="connsiteX2" y="connsiteY2"/>
                  </a:cxn>
                </a:cxnLst>
                <a:rect l="l" t="t" r="r" b="b"/>
                <a:pathLst>
                  <a:path w="26508" h="35258">
                    <a:moveTo>
                      <a:pt x="-220" y="35246"/>
                    </a:moveTo>
                    <a:cubicBezTo>
                      <a:pt x="8256" y="23137"/>
                      <a:pt x="18432" y="12731"/>
                      <a:pt x="26289" y="-12"/>
                    </a:cubicBezTo>
                    <a:cubicBezTo>
                      <a:pt x="15287" y="8814"/>
                      <a:pt x="5281" y="24395"/>
                      <a:pt x="-220" y="35246"/>
                    </a:cubicBezTo>
                    <a:close/>
                  </a:path>
                </a:pathLst>
              </a:custGeom>
              <a:solidFill>
                <a:schemeClr val="bg1"/>
              </a:solidFill>
              <a:ln w="9318" cap="flat">
                <a:noFill/>
                <a:prstDash val="solid"/>
                <a:round/>
              </a:ln>
            </p:spPr>
            <p:txBody>
              <a:bodyPr rtlCol="0" anchor="ctr"/>
              <a:lstStyle/>
              <a:p>
                <a:endParaRPr lang="en-LT"/>
              </a:p>
            </p:txBody>
          </p:sp>
          <p:sp>
            <p:nvSpPr>
              <p:cNvPr id="173" name="Freeform 172">
                <a:extLst>
                  <a:ext uri="{FF2B5EF4-FFF2-40B4-BE49-F238E27FC236}">
                    <a16:creationId xmlns:a16="http://schemas.microsoft.com/office/drawing/2014/main" id="{D929D959-8539-5A46-B3DC-7459742E0A6B}"/>
                  </a:ext>
                </a:extLst>
              </p:cNvPr>
              <p:cNvSpPr/>
              <p:nvPr/>
            </p:nvSpPr>
            <p:spPr>
              <a:xfrm>
                <a:off x="6439813" y="2304477"/>
                <a:ext cx="25986" cy="43640"/>
              </a:xfrm>
              <a:custGeom>
                <a:avLst/>
                <a:gdLst>
                  <a:gd name="connsiteX0" fmla="*/ 9317 w 9537"/>
                  <a:gd name="connsiteY0" fmla="*/ -12 h 16016"/>
                  <a:gd name="connsiteX1" fmla="*/ -220 w 9537"/>
                  <a:gd name="connsiteY1" fmla="*/ 16004 h 16016"/>
                  <a:gd name="connsiteX2" fmla="*/ 9317 w 9537"/>
                  <a:gd name="connsiteY2" fmla="*/ -12 h 16016"/>
                </a:gdLst>
                <a:ahLst/>
                <a:cxnLst>
                  <a:cxn ang="0">
                    <a:pos x="connsiteX0" y="connsiteY0"/>
                  </a:cxn>
                  <a:cxn ang="0">
                    <a:pos x="connsiteX1" y="connsiteY1"/>
                  </a:cxn>
                  <a:cxn ang="0">
                    <a:pos x="connsiteX2" y="connsiteY2"/>
                  </a:cxn>
                </a:cxnLst>
                <a:rect l="l" t="t" r="r" b="b"/>
                <a:pathLst>
                  <a:path w="9537" h="16016">
                    <a:moveTo>
                      <a:pt x="9317" y="-12"/>
                    </a:moveTo>
                    <a:cubicBezTo>
                      <a:pt x="6501" y="5664"/>
                      <a:pt x="1038" y="8738"/>
                      <a:pt x="-220" y="16004"/>
                    </a:cubicBezTo>
                    <a:cubicBezTo>
                      <a:pt x="4173" y="12589"/>
                      <a:pt x="9101" y="4046"/>
                      <a:pt x="9317" y="-12"/>
                    </a:cubicBezTo>
                    <a:close/>
                  </a:path>
                </a:pathLst>
              </a:custGeom>
              <a:solidFill>
                <a:schemeClr val="bg1"/>
              </a:solidFill>
              <a:ln w="9318" cap="flat">
                <a:noFill/>
                <a:prstDash val="solid"/>
                <a:round/>
              </a:ln>
            </p:spPr>
            <p:txBody>
              <a:bodyPr rtlCol="0" anchor="ctr"/>
              <a:lstStyle/>
              <a:p>
                <a:endParaRPr lang="en-LT"/>
              </a:p>
            </p:txBody>
          </p:sp>
          <p:sp>
            <p:nvSpPr>
              <p:cNvPr id="174" name="Freeform 173">
                <a:extLst>
                  <a:ext uri="{FF2B5EF4-FFF2-40B4-BE49-F238E27FC236}">
                    <a16:creationId xmlns:a16="http://schemas.microsoft.com/office/drawing/2014/main" id="{B820160D-F73B-BD41-BFAE-E623AA01BDCF}"/>
                  </a:ext>
                </a:extLst>
              </p:cNvPr>
              <p:cNvSpPr/>
              <p:nvPr/>
            </p:nvSpPr>
            <p:spPr>
              <a:xfrm>
                <a:off x="6745975" y="2476201"/>
                <a:ext cx="453900" cy="1564093"/>
              </a:xfrm>
              <a:custGeom>
                <a:avLst/>
                <a:gdLst>
                  <a:gd name="connsiteX0" fmla="*/ 52769 w 166582"/>
                  <a:gd name="connsiteY0" fmla="*/ 498862 h 574025"/>
                  <a:gd name="connsiteX1" fmla="*/ 51718 w 166582"/>
                  <a:gd name="connsiteY1" fmla="*/ 508493 h 574025"/>
                  <a:gd name="connsiteX2" fmla="*/ 52769 w 166582"/>
                  <a:gd name="connsiteY2" fmla="*/ 498862 h 574025"/>
                  <a:gd name="connsiteX3" fmla="*/ 53830 w 166582"/>
                  <a:gd name="connsiteY3" fmla="*/ 552293 h 574025"/>
                  <a:gd name="connsiteX4" fmla="*/ 59143 w 166582"/>
                  <a:gd name="connsiteY4" fmla="*/ 553362 h 574025"/>
                  <a:gd name="connsiteX5" fmla="*/ 58092 w 166582"/>
                  <a:gd name="connsiteY5" fmla="*/ 556560 h 574025"/>
                  <a:gd name="connsiteX6" fmla="*/ 53830 w 166582"/>
                  <a:gd name="connsiteY6" fmla="*/ 552293 h 574025"/>
                  <a:gd name="connsiteX7" fmla="*/ 102605 w 166582"/>
                  <a:gd name="connsiteY7" fmla="*/ 512750 h 574025"/>
                  <a:gd name="connsiteX8" fmla="*/ 108969 w 166582"/>
                  <a:gd name="connsiteY8" fmla="*/ 505286 h 574025"/>
                  <a:gd name="connsiteX9" fmla="*/ 102605 w 166582"/>
                  <a:gd name="connsiteY9" fmla="*/ 512750 h 574025"/>
                  <a:gd name="connsiteX10" fmla="*/ 130156 w 166582"/>
                  <a:gd name="connsiteY10" fmla="*/ 480708 h 574025"/>
                  <a:gd name="connsiteX11" fmla="*/ 122740 w 166582"/>
                  <a:gd name="connsiteY11" fmla="*/ 490320 h 574025"/>
                  <a:gd name="connsiteX12" fmla="*/ 130156 w 166582"/>
                  <a:gd name="connsiteY12" fmla="*/ 480708 h 574025"/>
                  <a:gd name="connsiteX13" fmla="*/ 38999 w 166582"/>
                  <a:gd name="connsiteY13" fmla="*/ 478579 h 574025"/>
                  <a:gd name="connsiteX14" fmla="*/ 38999 w 166582"/>
                  <a:gd name="connsiteY14" fmla="*/ 478579 h 574025"/>
                  <a:gd name="connsiteX15" fmla="*/ 14611 w 166582"/>
                  <a:gd name="connsiteY15" fmla="*/ 116424 h 574025"/>
                  <a:gd name="connsiteX16" fmla="*/ 14790 w 166582"/>
                  <a:gd name="connsiteY16" fmla="*/ 111609 h 574025"/>
                  <a:gd name="connsiteX17" fmla="*/ 15663 w 166582"/>
                  <a:gd name="connsiteY17" fmla="*/ 91648 h 574025"/>
                  <a:gd name="connsiteX18" fmla="*/ 20985 w 166582"/>
                  <a:gd name="connsiteY18" fmla="*/ 39494 h 574025"/>
                  <a:gd name="connsiteX19" fmla="*/ 15663 w 166582"/>
                  <a:gd name="connsiteY19" fmla="*/ 91648 h 574025"/>
                  <a:gd name="connsiteX20" fmla="*/ 14790 w 166582"/>
                  <a:gd name="connsiteY20" fmla="*/ 111609 h 574025"/>
                  <a:gd name="connsiteX21" fmla="*/ 15682 w 166582"/>
                  <a:gd name="connsiteY21" fmla="*/ 119631 h 574025"/>
                  <a:gd name="connsiteX22" fmla="*/ 34765 w 166582"/>
                  <a:gd name="connsiteY22" fmla="*/ 163432 h 574025"/>
                  <a:gd name="connsiteX23" fmla="*/ 37957 w 166582"/>
                  <a:gd name="connsiteY23" fmla="*/ 200818 h 574025"/>
                  <a:gd name="connsiteX24" fmla="*/ 33695 w 166582"/>
                  <a:gd name="connsiteY24" fmla="*/ 318333 h 574025"/>
                  <a:gd name="connsiteX25" fmla="*/ 46424 w 166582"/>
                  <a:gd name="connsiteY25" fmla="*/ 347177 h 574025"/>
                  <a:gd name="connsiteX26" fmla="*/ 48536 w 166582"/>
                  <a:gd name="connsiteY26" fmla="*/ 445459 h 574025"/>
                  <a:gd name="connsiteX27" fmla="*/ 18864 w 166582"/>
                  <a:gd name="connsiteY27" fmla="*/ 477510 h 574025"/>
                  <a:gd name="connsiteX28" fmla="*/ 32653 w 166582"/>
                  <a:gd name="connsiteY28" fmla="*/ 526637 h 574025"/>
                  <a:gd name="connsiteX29" fmla="*/ 51718 w 166582"/>
                  <a:gd name="connsiteY29" fmla="*/ 573655 h 574025"/>
                  <a:gd name="connsiteX30" fmla="*/ 72914 w 166582"/>
                  <a:gd name="connsiteY30" fmla="*/ 523430 h 574025"/>
                  <a:gd name="connsiteX31" fmla="*/ 85652 w 166582"/>
                  <a:gd name="connsiteY31" fmla="*/ 410192 h 574025"/>
                  <a:gd name="connsiteX32" fmla="*/ 75035 w 166582"/>
                  <a:gd name="connsiteY32" fmla="*/ 440124 h 574025"/>
                  <a:gd name="connsiteX33" fmla="*/ 62325 w 166582"/>
                  <a:gd name="connsiteY33" fmla="*/ 561895 h 574025"/>
                  <a:gd name="connsiteX34" fmla="*/ 70802 w 166582"/>
                  <a:gd name="connsiteY34" fmla="*/ 457190 h 574025"/>
                  <a:gd name="connsiteX35" fmla="*/ 64428 w 166582"/>
                  <a:gd name="connsiteY35" fmla="*/ 461466 h 574025"/>
                  <a:gd name="connsiteX36" fmla="*/ 76115 w 166582"/>
                  <a:gd name="connsiteY36" fmla="*/ 419813 h 574025"/>
                  <a:gd name="connsiteX37" fmla="*/ 66550 w 166582"/>
                  <a:gd name="connsiteY37" fmla="*/ 425167 h 574025"/>
                  <a:gd name="connsiteX38" fmla="*/ 61274 w 166582"/>
                  <a:gd name="connsiteY38" fmla="*/ 357858 h 574025"/>
                  <a:gd name="connsiteX39" fmla="*/ 86703 w 166582"/>
                  <a:gd name="connsiteY39" fmla="*/ 352503 h 574025"/>
                  <a:gd name="connsiteX40" fmla="*/ 95180 w 166582"/>
                  <a:gd name="connsiteY40" fmla="*/ 380288 h 574025"/>
                  <a:gd name="connsiteX41" fmla="*/ 98371 w 166582"/>
                  <a:gd name="connsiteY41" fmla="*/ 379238 h 574025"/>
                  <a:gd name="connsiteX42" fmla="*/ 100483 w 166582"/>
                  <a:gd name="connsiteY42" fmla="*/ 392028 h 574025"/>
                  <a:gd name="connsiteX43" fmla="*/ 95180 w 166582"/>
                  <a:gd name="connsiteY43" fmla="*/ 398461 h 574025"/>
                  <a:gd name="connsiteX44" fmla="*/ 79288 w 166582"/>
                  <a:gd name="connsiteY44" fmla="*/ 551234 h 574025"/>
                  <a:gd name="connsiteX45" fmla="*/ 87764 w 166582"/>
                  <a:gd name="connsiteY45" fmla="*/ 517026 h 574025"/>
                  <a:gd name="connsiteX46" fmla="*/ 99432 w 166582"/>
                  <a:gd name="connsiteY46" fmla="*/ 394176 h 574025"/>
                  <a:gd name="connsiteX47" fmla="*/ 86703 w 166582"/>
                  <a:gd name="connsiteY47" fmla="*/ 544810 h 574025"/>
                  <a:gd name="connsiteX48" fmla="*/ 96250 w 166582"/>
                  <a:gd name="connsiteY48" fmla="*/ 511681 h 574025"/>
                  <a:gd name="connsiteX49" fmla="*/ 106838 w 166582"/>
                  <a:gd name="connsiteY49" fmla="*/ 390959 h 574025"/>
                  <a:gd name="connsiteX50" fmla="*/ 95180 w 166582"/>
                  <a:gd name="connsiteY50" fmla="*/ 536249 h 574025"/>
                  <a:gd name="connsiteX51" fmla="*/ 130156 w 166582"/>
                  <a:gd name="connsiteY51" fmla="*/ 502060 h 574025"/>
                  <a:gd name="connsiteX52" fmla="*/ 166211 w 166582"/>
                  <a:gd name="connsiteY52" fmla="*/ 465761 h 574025"/>
                  <a:gd name="connsiteX53" fmla="*/ 159818 w 166582"/>
                  <a:gd name="connsiteY53" fmla="*/ 437976 h 574025"/>
                  <a:gd name="connsiteX54" fmla="*/ 139712 w 166582"/>
                  <a:gd name="connsiteY54" fmla="*/ 353572 h 574025"/>
                  <a:gd name="connsiteX55" fmla="*/ 112142 w 166582"/>
                  <a:gd name="connsiteY55" fmla="*/ 378169 h 574025"/>
                  <a:gd name="connsiteX56" fmla="*/ 76115 w 166582"/>
                  <a:gd name="connsiteY56" fmla="*/ 330073 h 574025"/>
                  <a:gd name="connsiteX57" fmla="*/ 59143 w 166582"/>
                  <a:gd name="connsiteY57" fmla="*/ 324738 h 574025"/>
                  <a:gd name="connsiteX58" fmla="*/ 68680 w 166582"/>
                  <a:gd name="connsiteY58" fmla="*/ 320462 h 574025"/>
                  <a:gd name="connsiteX59" fmla="*/ 72914 w 166582"/>
                  <a:gd name="connsiteY59" fmla="*/ 204025 h 574025"/>
                  <a:gd name="connsiteX60" fmla="*/ 66550 w 166582"/>
                  <a:gd name="connsiteY60" fmla="*/ 174112 h 574025"/>
                  <a:gd name="connsiteX61" fmla="*/ 22027 w 166582"/>
                  <a:gd name="connsiteY61" fmla="*/ 30970 h 574025"/>
                  <a:gd name="connsiteX62" fmla="*/ 20985 w 166582"/>
                  <a:gd name="connsiteY62" fmla="*/ 37365 h 574025"/>
                  <a:gd name="connsiteX63" fmla="*/ 6144 w 166582"/>
                  <a:gd name="connsiteY63" fmla="*/ -12 h 574025"/>
                  <a:gd name="connsiteX64" fmla="*/ -220 w 166582"/>
                  <a:gd name="connsiteY64" fmla="*/ 96132 h 574025"/>
                  <a:gd name="connsiteX65" fmla="*/ 14611 w 166582"/>
                  <a:gd name="connsiteY65" fmla="*/ 116424 h 57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66582" h="574025">
                    <a:moveTo>
                      <a:pt x="52769" y="498862"/>
                    </a:moveTo>
                    <a:cubicBezTo>
                      <a:pt x="55858" y="501360"/>
                      <a:pt x="50798" y="504623"/>
                      <a:pt x="51718" y="508493"/>
                    </a:cubicBezTo>
                    <a:cubicBezTo>
                      <a:pt x="48395" y="505740"/>
                      <a:pt x="52309" y="501312"/>
                      <a:pt x="52769" y="498862"/>
                    </a:cubicBezTo>
                    <a:close/>
                    <a:moveTo>
                      <a:pt x="53830" y="552293"/>
                    </a:moveTo>
                    <a:cubicBezTo>
                      <a:pt x="55069" y="553183"/>
                      <a:pt x="56684" y="553675"/>
                      <a:pt x="59143" y="553362"/>
                    </a:cubicBezTo>
                    <a:cubicBezTo>
                      <a:pt x="58589" y="554223"/>
                      <a:pt x="58035" y="555065"/>
                      <a:pt x="58092" y="556560"/>
                    </a:cubicBezTo>
                    <a:cubicBezTo>
                      <a:pt x="54759" y="557061"/>
                      <a:pt x="53351" y="555633"/>
                      <a:pt x="53830" y="552293"/>
                    </a:cubicBezTo>
                    <a:close/>
                    <a:moveTo>
                      <a:pt x="102605" y="512750"/>
                    </a:moveTo>
                    <a:cubicBezTo>
                      <a:pt x="100540" y="510243"/>
                      <a:pt x="105834" y="506090"/>
                      <a:pt x="108969" y="505286"/>
                    </a:cubicBezTo>
                    <a:cubicBezTo>
                      <a:pt x="107514" y="508436"/>
                      <a:pt x="104069" y="509609"/>
                      <a:pt x="102605" y="512750"/>
                    </a:cubicBezTo>
                    <a:close/>
                    <a:moveTo>
                      <a:pt x="130156" y="480708"/>
                    </a:moveTo>
                    <a:cubicBezTo>
                      <a:pt x="132099" y="484123"/>
                      <a:pt x="125162" y="487718"/>
                      <a:pt x="122740" y="490320"/>
                    </a:cubicBezTo>
                    <a:cubicBezTo>
                      <a:pt x="121538" y="491512"/>
                      <a:pt x="126964" y="482080"/>
                      <a:pt x="130156" y="480708"/>
                    </a:cubicBezTo>
                    <a:close/>
                    <a:moveTo>
                      <a:pt x="38999" y="478579"/>
                    </a:moveTo>
                    <a:cubicBezTo>
                      <a:pt x="40444" y="483735"/>
                      <a:pt x="32090" y="492713"/>
                      <a:pt x="38999" y="478579"/>
                    </a:cubicBezTo>
                    <a:close/>
                    <a:moveTo>
                      <a:pt x="14611" y="116424"/>
                    </a:moveTo>
                    <a:cubicBezTo>
                      <a:pt x="14658" y="114797"/>
                      <a:pt x="14733" y="113217"/>
                      <a:pt x="14790" y="111609"/>
                    </a:cubicBezTo>
                    <a:cubicBezTo>
                      <a:pt x="14396" y="105128"/>
                      <a:pt x="14818" y="98450"/>
                      <a:pt x="15663" y="91648"/>
                    </a:cubicBezTo>
                    <a:cubicBezTo>
                      <a:pt x="16677" y="73494"/>
                      <a:pt x="18291" y="55954"/>
                      <a:pt x="20985" y="39494"/>
                    </a:cubicBezTo>
                    <a:cubicBezTo>
                      <a:pt x="22224" y="56494"/>
                      <a:pt x="17794" y="74430"/>
                      <a:pt x="15663" y="91648"/>
                    </a:cubicBezTo>
                    <a:cubicBezTo>
                      <a:pt x="15297" y="98223"/>
                      <a:pt x="15006" y="104873"/>
                      <a:pt x="14790" y="111609"/>
                    </a:cubicBezTo>
                    <a:cubicBezTo>
                      <a:pt x="14959" y="114314"/>
                      <a:pt x="15175" y="117001"/>
                      <a:pt x="15682" y="119631"/>
                    </a:cubicBezTo>
                    <a:cubicBezTo>
                      <a:pt x="18282" y="133197"/>
                      <a:pt x="30250" y="147434"/>
                      <a:pt x="34765" y="163432"/>
                    </a:cubicBezTo>
                    <a:cubicBezTo>
                      <a:pt x="38445" y="176468"/>
                      <a:pt x="38802" y="187990"/>
                      <a:pt x="37957" y="200818"/>
                    </a:cubicBezTo>
                    <a:cubicBezTo>
                      <a:pt x="35441" y="237865"/>
                      <a:pt x="36934" y="274570"/>
                      <a:pt x="33695" y="318333"/>
                    </a:cubicBezTo>
                    <a:cubicBezTo>
                      <a:pt x="43429" y="322410"/>
                      <a:pt x="40210" y="339543"/>
                      <a:pt x="46424" y="347177"/>
                    </a:cubicBezTo>
                    <a:cubicBezTo>
                      <a:pt x="32897" y="371755"/>
                      <a:pt x="39365" y="421165"/>
                      <a:pt x="48536" y="445459"/>
                    </a:cubicBezTo>
                    <a:cubicBezTo>
                      <a:pt x="40576" y="455345"/>
                      <a:pt x="21558" y="463472"/>
                      <a:pt x="18864" y="477510"/>
                    </a:cubicBezTo>
                    <a:cubicBezTo>
                      <a:pt x="16207" y="491322"/>
                      <a:pt x="27528" y="512598"/>
                      <a:pt x="32653" y="526637"/>
                    </a:cubicBezTo>
                    <a:cubicBezTo>
                      <a:pt x="37206" y="539163"/>
                      <a:pt x="42613" y="571592"/>
                      <a:pt x="51718" y="573655"/>
                    </a:cubicBezTo>
                    <a:cubicBezTo>
                      <a:pt x="71412" y="578101"/>
                      <a:pt x="70886" y="540090"/>
                      <a:pt x="72914" y="523430"/>
                    </a:cubicBezTo>
                    <a:cubicBezTo>
                      <a:pt x="77495" y="486148"/>
                      <a:pt x="80132" y="444088"/>
                      <a:pt x="85652" y="410192"/>
                    </a:cubicBezTo>
                    <a:cubicBezTo>
                      <a:pt x="76246" y="409350"/>
                      <a:pt x="76500" y="428147"/>
                      <a:pt x="75035" y="440124"/>
                    </a:cubicBezTo>
                    <a:cubicBezTo>
                      <a:pt x="70145" y="480263"/>
                      <a:pt x="67188" y="525180"/>
                      <a:pt x="62325" y="561895"/>
                    </a:cubicBezTo>
                    <a:cubicBezTo>
                      <a:pt x="63330" y="525180"/>
                      <a:pt x="67385" y="491512"/>
                      <a:pt x="70802" y="457190"/>
                    </a:cubicBezTo>
                    <a:cubicBezTo>
                      <a:pt x="68774" y="453860"/>
                      <a:pt x="66099" y="464437"/>
                      <a:pt x="64428" y="461466"/>
                    </a:cubicBezTo>
                    <a:cubicBezTo>
                      <a:pt x="75354" y="454683"/>
                      <a:pt x="71712" y="433189"/>
                      <a:pt x="76115" y="419813"/>
                    </a:cubicBezTo>
                    <a:cubicBezTo>
                      <a:pt x="74228" y="414922"/>
                      <a:pt x="71046" y="425744"/>
                      <a:pt x="66550" y="425167"/>
                    </a:cubicBezTo>
                    <a:cubicBezTo>
                      <a:pt x="60185" y="408252"/>
                      <a:pt x="54196" y="378216"/>
                      <a:pt x="61274" y="357858"/>
                    </a:cubicBezTo>
                    <a:cubicBezTo>
                      <a:pt x="69863" y="364035"/>
                      <a:pt x="83418" y="360753"/>
                      <a:pt x="86703" y="352503"/>
                    </a:cubicBezTo>
                    <a:cubicBezTo>
                      <a:pt x="91153" y="360138"/>
                      <a:pt x="93734" y="369626"/>
                      <a:pt x="95180" y="380288"/>
                    </a:cubicBezTo>
                    <a:cubicBezTo>
                      <a:pt x="98024" y="382208"/>
                      <a:pt x="97235" y="375577"/>
                      <a:pt x="98371" y="379238"/>
                    </a:cubicBezTo>
                    <a:cubicBezTo>
                      <a:pt x="97470" y="385094"/>
                      <a:pt x="101028" y="386513"/>
                      <a:pt x="100483" y="392028"/>
                    </a:cubicBezTo>
                    <a:cubicBezTo>
                      <a:pt x="98897" y="394346"/>
                      <a:pt x="95170" y="394535"/>
                      <a:pt x="95180" y="398461"/>
                    </a:cubicBezTo>
                    <a:cubicBezTo>
                      <a:pt x="87642" y="447115"/>
                      <a:pt x="88290" y="504037"/>
                      <a:pt x="79288" y="551234"/>
                    </a:cubicBezTo>
                    <a:cubicBezTo>
                      <a:pt x="88599" y="544782"/>
                      <a:pt x="86722" y="529400"/>
                      <a:pt x="87764" y="517026"/>
                    </a:cubicBezTo>
                    <a:cubicBezTo>
                      <a:pt x="91106" y="476536"/>
                      <a:pt x="91537" y="429292"/>
                      <a:pt x="99432" y="394176"/>
                    </a:cubicBezTo>
                    <a:cubicBezTo>
                      <a:pt x="93415" y="442612"/>
                      <a:pt x="93068" y="496743"/>
                      <a:pt x="86703" y="544810"/>
                    </a:cubicBezTo>
                    <a:cubicBezTo>
                      <a:pt x="96954" y="539503"/>
                      <a:pt x="95170" y="523856"/>
                      <a:pt x="96250" y="511681"/>
                    </a:cubicBezTo>
                    <a:cubicBezTo>
                      <a:pt x="99676" y="472345"/>
                      <a:pt x="100052" y="425091"/>
                      <a:pt x="106838" y="390959"/>
                    </a:cubicBezTo>
                    <a:cubicBezTo>
                      <a:pt x="101788" y="438222"/>
                      <a:pt x="101112" y="489856"/>
                      <a:pt x="95180" y="536249"/>
                    </a:cubicBezTo>
                    <a:cubicBezTo>
                      <a:pt x="106716" y="527271"/>
                      <a:pt x="116263" y="517215"/>
                      <a:pt x="130156" y="502060"/>
                    </a:cubicBezTo>
                    <a:cubicBezTo>
                      <a:pt x="136501" y="495173"/>
                      <a:pt x="164840" y="473660"/>
                      <a:pt x="166211" y="465761"/>
                    </a:cubicBezTo>
                    <a:cubicBezTo>
                      <a:pt x="167375" y="458874"/>
                      <a:pt x="161498" y="447380"/>
                      <a:pt x="159818" y="437976"/>
                    </a:cubicBezTo>
                    <a:cubicBezTo>
                      <a:pt x="155998" y="416208"/>
                      <a:pt x="159274" y="355956"/>
                      <a:pt x="139712" y="353572"/>
                    </a:cubicBezTo>
                    <a:cubicBezTo>
                      <a:pt x="123247" y="351576"/>
                      <a:pt x="122993" y="375634"/>
                      <a:pt x="112142" y="378169"/>
                    </a:cubicBezTo>
                    <a:cubicBezTo>
                      <a:pt x="105993" y="356760"/>
                      <a:pt x="98418" y="333630"/>
                      <a:pt x="76115" y="330073"/>
                    </a:cubicBezTo>
                    <a:cubicBezTo>
                      <a:pt x="69356" y="329004"/>
                      <a:pt x="59894" y="334529"/>
                      <a:pt x="59143" y="324738"/>
                    </a:cubicBezTo>
                    <a:cubicBezTo>
                      <a:pt x="60645" y="321635"/>
                      <a:pt x="69957" y="326374"/>
                      <a:pt x="68680" y="320462"/>
                    </a:cubicBezTo>
                    <a:cubicBezTo>
                      <a:pt x="61340" y="285024"/>
                      <a:pt x="70942" y="240031"/>
                      <a:pt x="72914" y="204025"/>
                    </a:cubicBezTo>
                    <a:cubicBezTo>
                      <a:pt x="73740" y="189305"/>
                      <a:pt x="68652" y="183572"/>
                      <a:pt x="66550" y="174112"/>
                    </a:cubicBezTo>
                    <a:cubicBezTo>
                      <a:pt x="55426" y="123718"/>
                      <a:pt x="42585" y="72481"/>
                      <a:pt x="22027" y="30970"/>
                    </a:cubicBezTo>
                    <a:cubicBezTo>
                      <a:pt x="21445" y="32834"/>
                      <a:pt x="23322" y="37251"/>
                      <a:pt x="20985" y="37365"/>
                    </a:cubicBezTo>
                    <a:cubicBezTo>
                      <a:pt x="23238" y="20838"/>
                      <a:pt x="12997" y="10574"/>
                      <a:pt x="6144" y="-12"/>
                    </a:cubicBezTo>
                    <a:cubicBezTo>
                      <a:pt x="-558" y="26798"/>
                      <a:pt x="1967" y="68262"/>
                      <a:pt x="-220" y="96132"/>
                    </a:cubicBezTo>
                    <a:cubicBezTo>
                      <a:pt x="5102" y="102499"/>
                      <a:pt x="8209" y="111136"/>
                      <a:pt x="14611" y="116424"/>
                    </a:cubicBezTo>
                    <a:close/>
                  </a:path>
                </a:pathLst>
              </a:custGeom>
              <a:solidFill>
                <a:schemeClr val="bg1"/>
              </a:solidFill>
              <a:ln w="9318" cap="flat">
                <a:noFill/>
                <a:prstDash val="solid"/>
                <a:round/>
              </a:ln>
            </p:spPr>
            <p:txBody>
              <a:bodyPr rtlCol="0" anchor="ctr"/>
              <a:lstStyle/>
              <a:p>
                <a:endParaRPr lang="en-LT"/>
              </a:p>
            </p:txBody>
          </p:sp>
          <p:sp>
            <p:nvSpPr>
              <p:cNvPr id="175" name="Freeform 174">
                <a:extLst>
                  <a:ext uri="{FF2B5EF4-FFF2-40B4-BE49-F238E27FC236}">
                    <a16:creationId xmlns:a16="http://schemas.microsoft.com/office/drawing/2014/main" id="{FDA2B63A-D902-4F48-B61F-D7AC94EF884A}"/>
                  </a:ext>
                </a:extLst>
              </p:cNvPr>
              <p:cNvSpPr/>
              <p:nvPr/>
            </p:nvSpPr>
            <p:spPr>
              <a:xfrm>
                <a:off x="6616017" y="3812249"/>
                <a:ext cx="127544" cy="707345"/>
              </a:xfrm>
              <a:custGeom>
                <a:avLst/>
                <a:gdLst>
                  <a:gd name="connsiteX0" fmla="*/ 841 w 46809"/>
                  <a:gd name="connsiteY0" fmla="*/ 39503 h 259597"/>
                  <a:gd name="connsiteX1" fmla="*/ 5084 w 46809"/>
                  <a:gd name="connsiteY1" fmla="*/ 63031 h 259597"/>
                  <a:gd name="connsiteX2" fmla="*/ 15672 w 46809"/>
                  <a:gd name="connsiteY2" fmla="*/ 136744 h 259597"/>
                  <a:gd name="connsiteX3" fmla="*/ 31564 w 46809"/>
                  <a:gd name="connsiteY3" fmla="*/ 246738 h 259597"/>
                  <a:gd name="connsiteX4" fmla="*/ 38989 w 46809"/>
                  <a:gd name="connsiteY4" fmla="*/ 259585 h 259597"/>
                  <a:gd name="connsiteX5" fmla="*/ 43232 w 46809"/>
                  <a:gd name="connsiteY5" fmla="*/ 194423 h 259597"/>
                  <a:gd name="connsiteX6" fmla="*/ 36877 w 46809"/>
                  <a:gd name="connsiteY6" fmla="*/ -12 h 259597"/>
                  <a:gd name="connsiteX7" fmla="*/ 16723 w 46809"/>
                  <a:gd name="connsiteY7" fmla="*/ 14954 h 259597"/>
                  <a:gd name="connsiteX8" fmla="*/ -220 w 46809"/>
                  <a:gd name="connsiteY8" fmla="*/ 33098 h 259597"/>
                  <a:gd name="connsiteX9" fmla="*/ 12499 w 46809"/>
                  <a:gd name="connsiteY9" fmla="*/ 21349 h 259597"/>
                  <a:gd name="connsiteX10" fmla="*/ 22046 w 46809"/>
                  <a:gd name="connsiteY10" fmla="*/ 17082 h 259597"/>
                  <a:gd name="connsiteX11" fmla="*/ 841 w 46809"/>
                  <a:gd name="connsiteY11" fmla="*/ 39503 h 25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09" h="259597">
                    <a:moveTo>
                      <a:pt x="841" y="39503"/>
                    </a:moveTo>
                    <a:cubicBezTo>
                      <a:pt x="-51" y="43798"/>
                      <a:pt x="3816" y="54355"/>
                      <a:pt x="5084" y="63031"/>
                    </a:cubicBezTo>
                    <a:cubicBezTo>
                      <a:pt x="8876" y="89339"/>
                      <a:pt x="12574" y="112242"/>
                      <a:pt x="15672" y="136744"/>
                    </a:cubicBezTo>
                    <a:cubicBezTo>
                      <a:pt x="20056" y="171104"/>
                      <a:pt x="22243" y="220666"/>
                      <a:pt x="31564" y="246738"/>
                    </a:cubicBezTo>
                    <a:cubicBezTo>
                      <a:pt x="33179" y="251913"/>
                      <a:pt x="32212" y="259632"/>
                      <a:pt x="38989" y="259585"/>
                    </a:cubicBezTo>
                    <a:cubicBezTo>
                      <a:pt x="52347" y="246294"/>
                      <a:pt x="44246" y="217563"/>
                      <a:pt x="43232" y="194423"/>
                    </a:cubicBezTo>
                    <a:cubicBezTo>
                      <a:pt x="40369" y="128836"/>
                      <a:pt x="38107" y="63570"/>
                      <a:pt x="36877" y="-12"/>
                    </a:cubicBezTo>
                    <a:cubicBezTo>
                      <a:pt x="31085" y="5910"/>
                      <a:pt x="23426" y="9722"/>
                      <a:pt x="16723" y="14954"/>
                    </a:cubicBezTo>
                    <a:cubicBezTo>
                      <a:pt x="10594" y="19741"/>
                      <a:pt x="2746" y="25209"/>
                      <a:pt x="-220" y="33098"/>
                    </a:cubicBezTo>
                    <a:cubicBezTo>
                      <a:pt x="2943" y="33411"/>
                      <a:pt x="16620" y="21689"/>
                      <a:pt x="12499" y="21349"/>
                    </a:cubicBezTo>
                    <a:cubicBezTo>
                      <a:pt x="15484" y="19741"/>
                      <a:pt x="17399" y="17044"/>
                      <a:pt x="22046" y="17082"/>
                    </a:cubicBezTo>
                    <a:cubicBezTo>
                      <a:pt x="20610" y="25502"/>
                      <a:pt x="2953" y="29154"/>
                      <a:pt x="841" y="39503"/>
                    </a:cubicBezTo>
                    <a:close/>
                  </a:path>
                </a:pathLst>
              </a:custGeom>
              <a:solidFill>
                <a:schemeClr val="bg1"/>
              </a:solidFill>
              <a:ln w="9318" cap="flat">
                <a:noFill/>
                <a:prstDash val="solid"/>
                <a:round/>
              </a:ln>
            </p:spPr>
            <p:txBody>
              <a:bodyPr rtlCol="0" anchor="ctr"/>
              <a:lstStyle/>
              <a:p>
                <a:endParaRPr lang="en-LT"/>
              </a:p>
            </p:txBody>
          </p:sp>
          <p:sp>
            <p:nvSpPr>
              <p:cNvPr id="176" name="Freeform 175">
                <a:extLst>
                  <a:ext uri="{FF2B5EF4-FFF2-40B4-BE49-F238E27FC236}">
                    <a16:creationId xmlns:a16="http://schemas.microsoft.com/office/drawing/2014/main" id="{373F2F75-E15B-E24C-AC22-67FDE5074359}"/>
                  </a:ext>
                </a:extLst>
              </p:cNvPr>
              <p:cNvSpPr/>
              <p:nvPr/>
            </p:nvSpPr>
            <p:spPr>
              <a:xfrm>
                <a:off x="6136179" y="2432509"/>
                <a:ext cx="664765" cy="1461271"/>
              </a:xfrm>
              <a:custGeom>
                <a:avLst/>
                <a:gdLst>
                  <a:gd name="connsiteX0" fmla="*/ 55033 w 243970"/>
                  <a:gd name="connsiteY0" fmla="*/ 116443 h 536289"/>
                  <a:gd name="connsiteX1" fmla="*/ 57155 w 243970"/>
                  <a:gd name="connsiteY1" fmla="*/ 119631 h 536289"/>
                  <a:gd name="connsiteX2" fmla="*/ 77308 w 243970"/>
                  <a:gd name="connsiteY2" fmla="*/ 92925 h 536289"/>
                  <a:gd name="connsiteX3" fmla="*/ 78360 w 243970"/>
                  <a:gd name="connsiteY3" fmla="*/ 101467 h 536289"/>
                  <a:gd name="connsiteX4" fmla="*/ 78360 w 243970"/>
                  <a:gd name="connsiteY4" fmla="*/ 88658 h 536289"/>
                  <a:gd name="connsiteX5" fmla="*/ 95331 w 243970"/>
                  <a:gd name="connsiteY5" fmla="*/ 176269 h 536289"/>
                  <a:gd name="connsiteX6" fmla="*/ 101677 w 243970"/>
                  <a:gd name="connsiteY6" fmla="*/ 227543 h 536289"/>
                  <a:gd name="connsiteX7" fmla="*/ 81533 w 243970"/>
                  <a:gd name="connsiteY7" fmla="*/ 276680 h 536289"/>
                  <a:gd name="connsiteX8" fmla="*/ 30655 w 243970"/>
                  <a:gd name="connsiteY8" fmla="*/ 189078 h 536289"/>
                  <a:gd name="connsiteX9" fmla="*/ 55033 w 243970"/>
                  <a:gd name="connsiteY9" fmla="*/ 116443 h 536289"/>
                  <a:gd name="connsiteX10" fmla="*/ 99565 w 243970"/>
                  <a:gd name="connsiteY10" fmla="*/ 312998 h 536289"/>
                  <a:gd name="connsiteX11" fmla="*/ 101677 w 243970"/>
                  <a:gd name="connsiteY11" fmla="*/ 286301 h 536289"/>
                  <a:gd name="connsiteX12" fmla="*/ 99565 w 243970"/>
                  <a:gd name="connsiteY12" fmla="*/ 312998 h 536289"/>
                  <a:gd name="connsiteX13" fmla="*/ 118639 w 243970"/>
                  <a:gd name="connsiteY13" fmla="*/ 255309 h 536289"/>
                  <a:gd name="connsiteX14" fmla="*/ 134522 w 243970"/>
                  <a:gd name="connsiteY14" fmla="*/ 258516 h 536289"/>
                  <a:gd name="connsiteX15" fmla="*/ 134522 w 243970"/>
                  <a:gd name="connsiteY15" fmla="*/ 254250 h 536289"/>
                  <a:gd name="connsiteX16" fmla="*/ 112284 w 243970"/>
                  <a:gd name="connsiteY16" fmla="*/ 251043 h 536289"/>
                  <a:gd name="connsiteX17" fmla="*/ 112284 w 243970"/>
                  <a:gd name="connsiteY17" fmla="*/ 249974 h 536289"/>
                  <a:gd name="connsiteX18" fmla="*/ 184357 w 243970"/>
                  <a:gd name="connsiteY18" fmla="*/ 251043 h 536289"/>
                  <a:gd name="connsiteX19" fmla="*/ 121812 w 243970"/>
                  <a:gd name="connsiteY19" fmla="*/ 260654 h 536289"/>
                  <a:gd name="connsiteX20" fmla="*/ 120751 w 243970"/>
                  <a:gd name="connsiteY20" fmla="*/ 265990 h 536289"/>
                  <a:gd name="connsiteX21" fmla="*/ 115457 w 243970"/>
                  <a:gd name="connsiteY21" fmla="*/ 260654 h 536289"/>
                  <a:gd name="connsiteX22" fmla="*/ 103799 w 243970"/>
                  <a:gd name="connsiteY22" fmla="*/ 256378 h 536289"/>
                  <a:gd name="connsiteX23" fmla="*/ 118639 w 243970"/>
                  <a:gd name="connsiteY23" fmla="*/ 255309 h 536289"/>
                  <a:gd name="connsiteX24" fmla="*/ 152564 w 243970"/>
                  <a:gd name="connsiteY24" fmla="*/ 205094 h 536289"/>
                  <a:gd name="connsiteX25" fmla="*/ 151494 w 243970"/>
                  <a:gd name="connsiteY25" fmla="*/ 190147 h 536289"/>
                  <a:gd name="connsiteX26" fmla="*/ 152564 w 243970"/>
                  <a:gd name="connsiteY26" fmla="*/ 205094 h 536289"/>
                  <a:gd name="connsiteX27" fmla="*/ 152564 w 243970"/>
                  <a:gd name="connsiteY27" fmla="*/ 173034 h 536289"/>
                  <a:gd name="connsiteX28" fmla="*/ 144078 w 243970"/>
                  <a:gd name="connsiteY28" fmla="*/ 171974 h 536289"/>
                  <a:gd name="connsiteX29" fmla="*/ 152564 w 243970"/>
                  <a:gd name="connsiteY29" fmla="*/ 173034 h 536289"/>
                  <a:gd name="connsiteX30" fmla="*/ 150442 w 243970"/>
                  <a:gd name="connsiteY30" fmla="*/ 127114 h 536289"/>
                  <a:gd name="connsiteX31" fmla="*/ 150442 w 243970"/>
                  <a:gd name="connsiteY31" fmla="*/ 142089 h 536289"/>
                  <a:gd name="connsiteX32" fmla="*/ 143027 w 243970"/>
                  <a:gd name="connsiteY32" fmla="*/ 141011 h 536289"/>
                  <a:gd name="connsiteX33" fmla="*/ 150442 w 243970"/>
                  <a:gd name="connsiteY33" fmla="*/ 127114 h 536289"/>
                  <a:gd name="connsiteX34" fmla="*/ 181184 w 243970"/>
                  <a:gd name="connsiteY34" fmla="*/ 75849 h 536289"/>
                  <a:gd name="connsiteX35" fmla="*/ 175881 w 243970"/>
                  <a:gd name="connsiteY35" fmla="*/ 148485 h 536289"/>
                  <a:gd name="connsiteX36" fmla="*/ 174811 w 243970"/>
                  <a:gd name="connsiteY36" fmla="*/ 147416 h 536289"/>
                  <a:gd name="connsiteX37" fmla="*/ 181184 w 243970"/>
                  <a:gd name="connsiteY37" fmla="*/ 75849 h 536289"/>
                  <a:gd name="connsiteX38" fmla="*/ 192824 w 243970"/>
                  <a:gd name="connsiteY38" fmla="*/ 56607 h 536289"/>
                  <a:gd name="connsiteX39" fmla="*/ 192824 w 243970"/>
                  <a:gd name="connsiteY39" fmla="*/ 66219 h 536289"/>
                  <a:gd name="connsiteX40" fmla="*/ 192824 w 243970"/>
                  <a:gd name="connsiteY40" fmla="*/ 56607 h 536289"/>
                  <a:gd name="connsiteX41" fmla="*/ 199208 w 243970"/>
                  <a:gd name="connsiteY41" fmla="*/ 123907 h 536289"/>
                  <a:gd name="connsiteX42" fmla="*/ 201320 w 243970"/>
                  <a:gd name="connsiteY42" fmla="*/ 118571 h 536289"/>
                  <a:gd name="connsiteX43" fmla="*/ 199208 w 243970"/>
                  <a:gd name="connsiteY43" fmla="*/ 123907 h 536289"/>
                  <a:gd name="connsiteX44" fmla="*/ 209787 w 243970"/>
                  <a:gd name="connsiteY44" fmla="*/ 258516 h 536289"/>
                  <a:gd name="connsiteX45" fmla="*/ 90028 w 243970"/>
                  <a:gd name="connsiteY45" fmla="*/ 363212 h 536289"/>
                  <a:gd name="connsiteX46" fmla="*/ 209787 w 243970"/>
                  <a:gd name="connsiteY46" fmla="*/ 258516 h 536289"/>
                  <a:gd name="connsiteX47" fmla="*/ 211917 w 243970"/>
                  <a:gd name="connsiteY47" fmla="*/ 14954 h 536289"/>
                  <a:gd name="connsiteX48" fmla="*/ 209787 w 243970"/>
                  <a:gd name="connsiteY48" fmla="*/ 36305 h 536289"/>
                  <a:gd name="connsiteX49" fmla="*/ 211917 w 243970"/>
                  <a:gd name="connsiteY49" fmla="*/ 14954 h 536289"/>
                  <a:gd name="connsiteX50" fmla="*/ 222515 w 243970"/>
                  <a:gd name="connsiteY50" fmla="*/ 413418 h 536289"/>
                  <a:gd name="connsiteX51" fmla="*/ 221455 w 243970"/>
                  <a:gd name="connsiteY51" fmla="*/ 387780 h 536289"/>
                  <a:gd name="connsiteX52" fmla="*/ 222515 w 243970"/>
                  <a:gd name="connsiteY52" fmla="*/ 413418 h 536289"/>
                  <a:gd name="connsiteX53" fmla="*/ 198147 w 243970"/>
                  <a:gd name="connsiteY53" fmla="*/ 333299 h 536289"/>
                  <a:gd name="connsiteX54" fmla="*/ 204502 w 243970"/>
                  <a:gd name="connsiteY54" fmla="*/ 364281 h 536289"/>
                  <a:gd name="connsiteX55" fmla="*/ 198147 w 243970"/>
                  <a:gd name="connsiteY55" fmla="*/ 333299 h 536289"/>
                  <a:gd name="connsiteX56" fmla="*/ 157849 w 243970"/>
                  <a:gd name="connsiteY56" fmla="*/ 443321 h 536289"/>
                  <a:gd name="connsiteX57" fmla="*/ 137714 w 243970"/>
                  <a:gd name="connsiteY57" fmla="*/ 443321 h 536289"/>
                  <a:gd name="connsiteX58" fmla="*/ 153624 w 243970"/>
                  <a:gd name="connsiteY58" fmla="*/ 442262 h 536289"/>
                  <a:gd name="connsiteX59" fmla="*/ 157849 w 243970"/>
                  <a:gd name="connsiteY59" fmla="*/ 443321 h 536289"/>
                  <a:gd name="connsiteX60" fmla="*/ 136662 w 243970"/>
                  <a:gd name="connsiteY60" fmla="*/ 408063 h 536289"/>
                  <a:gd name="connsiteX61" fmla="*/ 137714 w 243970"/>
                  <a:gd name="connsiteY61" fmla="*/ 418763 h 536289"/>
                  <a:gd name="connsiteX62" fmla="*/ 136662 w 243970"/>
                  <a:gd name="connsiteY62" fmla="*/ 408063 h 536289"/>
                  <a:gd name="connsiteX63" fmla="*/ 152564 w 243970"/>
                  <a:gd name="connsiteY63" fmla="*/ 409132 h 536289"/>
                  <a:gd name="connsiteX64" fmla="*/ 154685 w 243970"/>
                  <a:gd name="connsiteY64" fmla="*/ 419813 h 536289"/>
                  <a:gd name="connsiteX65" fmla="*/ 152564 w 243970"/>
                  <a:gd name="connsiteY65" fmla="*/ 409132 h 536289"/>
                  <a:gd name="connsiteX66" fmla="*/ 50800 w 243970"/>
                  <a:gd name="connsiteY66" fmla="*/ 283094 h 536289"/>
                  <a:gd name="connsiteX67" fmla="*/ 65641 w 243970"/>
                  <a:gd name="connsiteY67" fmla="*/ 312998 h 536289"/>
                  <a:gd name="connsiteX68" fmla="*/ 40183 w 243970"/>
                  <a:gd name="connsiteY68" fmla="*/ 338616 h 536289"/>
                  <a:gd name="connsiteX69" fmla="*/ 69874 w 243970"/>
                  <a:gd name="connsiteY69" fmla="*/ 358927 h 536289"/>
                  <a:gd name="connsiteX70" fmla="*/ 69874 w 243970"/>
                  <a:gd name="connsiteY70" fmla="*/ 373893 h 536289"/>
                  <a:gd name="connsiteX71" fmla="*/ 90206 w 243970"/>
                  <a:gd name="connsiteY71" fmla="*/ 354821 h 536289"/>
                  <a:gd name="connsiteX72" fmla="*/ 99790 w 243970"/>
                  <a:gd name="connsiteY72" fmla="*/ 344916 h 536289"/>
                  <a:gd name="connsiteX73" fmla="*/ 118639 w 243970"/>
                  <a:gd name="connsiteY73" fmla="*/ 327954 h 536289"/>
                  <a:gd name="connsiteX74" fmla="*/ 99790 w 243970"/>
                  <a:gd name="connsiteY74" fmla="*/ 344916 h 536289"/>
                  <a:gd name="connsiteX75" fmla="*/ 90206 w 243970"/>
                  <a:gd name="connsiteY75" fmla="*/ 354821 h 536289"/>
                  <a:gd name="connsiteX76" fmla="*/ 87906 w 243970"/>
                  <a:gd name="connsiteY76" fmla="*/ 360005 h 536289"/>
                  <a:gd name="connsiteX77" fmla="*/ 85776 w 243970"/>
                  <a:gd name="connsiteY77" fmla="*/ 379219 h 536289"/>
                  <a:gd name="connsiteX78" fmla="*/ 86836 w 243970"/>
                  <a:gd name="connsiteY78" fmla="*/ 361065 h 536289"/>
                  <a:gd name="connsiteX79" fmla="*/ 71995 w 243970"/>
                  <a:gd name="connsiteY79" fmla="*/ 397383 h 536289"/>
                  <a:gd name="connsiteX80" fmla="*/ 214030 w 243970"/>
                  <a:gd name="connsiteY80" fmla="*/ 269197 h 536289"/>
                  <a:gd name="connsiteX81" fmla="*/ 87906 w 243970"/>
                  <a:gd name="connsiteY81" fmla="*/ 384564 h 536289"/>
                  <a:gd name="connsiteX82" fmla="*/ 73056 w 243970"/>
                  <a:gd name="connsiteY82" fmla="*/ 404866 h 536289"/>
                  <a:gd name="connsiteX83" fmla="*/ 218282 w 243970"/>
                  <a:gd name="connsiteY83" fmla="*/ 280965 h 536289"/>
                  <a:gd name="connsiteX84" fmla="*/ 91079 w 243970"/>
                  <a:gd name="connsiteY84" fmla="*/ 392047 h 536289"/>
                  <a:gd name="connsiteX85" fmla="*/ 75178 w 243970"/>
                  <a:gd name="connsiteY85" fmla="*/ 420910 h 536289"/>
                  <a:gd name="connsiteX86" fmla="*/ 225688 w 243970"/>
                  <a:gd name="connsiteY86" fmla="*/ 289498 h 536289"/>
                  <a:gd name="connsiteX87" fmla="*/ 147260 w 243970"/>
                  <a:gd name="connsiteY87" fmla="*/ 356808 h 536289"/>
                  <a:gd name="connsiteX88" fmla="*/ 144078 w 243970"/>
                  <a:gd name="connsiteY88" fmla="*/ 355748 h 536289"/>
                  <a:gd name="connsiteX89" fmla="*/ 76248 w 243970"/>
                  <a:gd name="connsiteY89" fmla="*/ 426227 h 536289"/>
                  <a:gd name="connsiteX90" fmla="*/ 79411 w 243970"/>
                  <a:gd name="connsiteY90" fmla="*/ 454011 h 536289"/>
                  <a:gd name="connsiteX91" fmla="*/ 92149 w 243970"/>
                  <a:gd name="connsiteY91" fmla="*/ 459366 h 536289"/>
                  <a:gd name="connsiteX92" fmla="*/ 104850 w 243970"/>
                  <a:gd name="connsiteY92" fmla="*/ 536277 h 536289"/>
                  <a:gd name="connsiteX93" fmla="*/ 145129 w 243970"/>
                  <a:gd name="connsiteY93" fmla="*/ 499950 h 536289"/>
                  <a:gd name="connsiteX94" fmla="*/ 144078 w 243970"/>
                  <a:gd name="connsiteY94" fmla="*/ 460425 h 536289"/>
                  <a:gd name="connsiteX95" fmla="*/ 166334 w 243970"/>
                  <a:gd name="connsiteY95" fmla="*/ 461494 h 536289"/>
                  <a:gd name="connsiteX96" fmla="*/ 169526 w 243970"/>
                  <a:gd name="connsiteY96" fmla="*/ 486072 h 536289"/>
                  <a:gd name="connsiteX97" fmla="*/ 209787 w 243970"/>
                  <a:gd name="connsiteY97" fmla="*/ 457218 h 536289"/>
                  <a:gd name="connsiteX98" fmla="*/ 188600 w 243970"/>
                  <a:gd name="connsiteY98" fmla="*/ 473225 h 536289"/>
                  <a:gd name="connsiteX99" fmla="*/ 171629 w 243970"/>
                  <a:gd name="connsiteY99" fmla="*/ 505286 h 536289"/>
                  <a:gd name="connsiteX100" fmla="*/ 214030 w 243970"/>
                  <a:gd name="connsiteY100" fmla="*/ 472156 h 536289"/>
                  <a:gd name="connsiteX101" fmla="*/ 212978 w 243970"/>
                  <a:gd name="connsiteY101" fmla="*/ 456159 h 536289"/>
                  <a:gd name="connsiteX102" fmla="*/ 236286 w 243970"/>
                  <a:gd name="connsiteY102" fmla="*/ 451873 h 536289"/>
                  <a:gd name="connsiteX103" fmla="*/ 242660 w 243970"/>
                  <a:gd name="connsiteY103" fmla="*/ 390987 h 536289"/>
                  <a:gd name="connsiteX104" fmla="*/ 242660 w 243970"/>
                  <a:gd name="connsiteY104" fmla="*/ 340773 h 536289"/>
                  <a:gd name="connsiteX105" fmla="*/ 237356 w 243970"/>
                  <a:gd name="connsiteY105" fmla="*/ 319412 h 536289"/>
                  <a:gd name="connsiteX106" fmla="*/ 226758 w 243970"/>
                  <a:gd name="connsiteY106" fmla="*/ 265990 h 536289"/>
                  <a:gd name="connsiteX107" fmla="*/ 208726 w 243970"/>
                  <a:gd name="connsiteY107" fmla="*/ 218991 h 536289"/>
                  <a:gd name="connsiteX108" fmla="*/ 211917 w 243970"/>
                  <a:gd name="connsiteY108" fmla="*/ 95063 h 536289"/>
                  <a:gd name="connsiteX109" fmla="*/ 222515 w 243970"/>
                  <a:gd name="connsiteY109" fmla="*/ 110029 h 536289"/>
                  <a:gd name="connsiteX110" fmla="*/ 228880 w 243970"/>
                  <a:gd name="connsiteY110" fmla="*/ 13875 h 536289"/>
                  <a:gd name="connsiteX111" fmla="*/ 206614 w 243970"/>
                  <a:gd name="connsiteY111" fmla="*/ -12 h 536289"/>
                  <a:gd name="connsiteX112" fmla="*/ 167386 w 243970"/>
                  <a:gd name="connsiteY112" fmla="*/ 3214 h 536289"/>
                  <a:gd name="connsiteX113" fmla="*/ 159979 w 243970"/>
                  <a:gd name="connsiteY113" fmla="*/ 105762 h 536289"/>
                  <a:gd name="connsiteX114" fmla="*/ 147260 w 243970"/>
                  <a:gd name="connsiteY114" fmla="*/ 47005 h 536289"/>
                  <a:gd name="connsiteX115" fmla="*/ 140896 w 243970"/>
                  <a:gd name="connsiteY115" fmla="*/ 28832 h 536289"/>
                  <a:gd name="connsiteX116" fmla="*/ 141947 w 243970"/>
                  <a:gd name="connsiteY116" fmla="*/ 102536 h 536289"/>
                  <a:gd name="connsiteX117" fmla="*/ 114406 w 243970"/>
                  <a:gd name="connsiteY117" fmla="*/ 7471 h 536289"/>
                  <a:gd name="connsiteX118" fmla="*/ 64570 w 243970"/>
                  <a:gd name="connsiteY118" fmla="*/ 9609 h 536289"/>
                  <a:gd name="connsiteX119" fmla="*/ 75178 w 243970"/>
                  <a:gd name="connsiteY119" fmla="*/ 72642 h 536289"/>
                  <a:gd name="connsiteX120" fmla="*/ 63519 w 243970"/>
                  <a:gd name="connsiteY120" fmla="*/ 21358 h 536289"/>
                  <a:gd name="connsiteX121" fmla="*/ 67752 w 243970"/>
                  <a:gd name="connsiteY121" fmla="*/ 82254 h 536289"/>
                  <a:gd name="connsiteX122" fmla="*/ 60337 w 243970"/>
                  <a:gd name="connsiteY122" fmla="*/ 16023 h 536289"/>
                  <a:gd name="connsiteX123" fmla="*/ 55033 w 243970"/>
                  <a:gd name="connsiteY123" fmla="*/ 102536 h 536289"/>
                  <a:gd name="connsiteX124" fmla="*/ 50800 w 243970"/>
                  <a:gd name="connsiteY124" fmla="*/ 33098 h 536289"/>
                  <a:gd name="connsiteX125" fmla="*/ 48669 w 243970"/>
                  <a:gd name="connsiteY125" fmla="*/ 111098 h 536289"/>
                  <a:gd name="connsiteX126" fmla="*/ 42314 w 243970"/>
                  <a:gd name="connsiteY126" fmla="*/ 55529 h 536289"/>
                  <a:gd name="connsiteX127" fmla="*/ -96 w 243970"/>
                  <a:gd name="connsiteY127" fmla="*/ 185890 h 536289"/>
                  <a:gd name="connsiteX128" fmla="*/ 14763 w 243970"/>
                  <a:gd name="connsiteY128" fmla="*/ 229672 h 536289"/>
                  <a:gd name="connsiteX129" fmla="*/ 50800 w 243970"/>
                  <a:gd name="connsiteY129" fmla="*/ 283094 h 53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43970" h="536289">
                    <a:moveTo>
                      <a:pt x="55033" y="116443"/>
                    </a:moveTo>
                    <a:cubicBezTo>
                      <a:pt x="57295" y="115941"/>
                      <a:pt x="57051" y="117975"/>
                      <a:pt x="57155" y="119631"/>
                    </a:cubicBezTo>
                    <a:cubicBezTo>
                      <a:pt x="63266" y="110114"/>
                      <a:pt x="67818" y="99027"/>
                      <a:pt x="77308" y="92925"/>
                    </a:cubicBezTo>
                    <a:cubicBezTo>
                      <a:pt x="76492" y="96945"/>
                      <a:pt x="78585" y="98043"/>
                      <a:pt x="78360" y="101467"/>
                    </a:cubicBezTo>
                    <a:cubicBezTo>
                      <a:pt x="81044" y="98696"/>
                      <a:pt x="76877" y="93757"/>
                      <a:pt x="78360" y="88658"/>
                    </a:cubicBezTo>
                    <a:cubicBezTo>
                      <a:pt x="82011" y="119849"/>
                      <a:pt x="89530" y="147463"/>
                      <a:pt x="95331" y="176269"/>
                    </a:cubicBezTo>
                    <a:cubicBezTo>
                      <a:pt x="98636" y="192796"/>
                      <a:pt x="103423" y="212369"/>
                      <a:pt x="101677" y="227543"/>
                    </a:cubicBezTo>
                    <a:cubicBezTo>
                      <a:pt x="99565" y="245906"/>
                      <a:pt x="81420" y="256142"/>
                      <a:pt x="81533" y="276680"/>
                    </a:cubicBezTo>
                    <a:cubicBezTo>
                      <a:pt x="65781" y="246265"/>
                      <a:pt x="47073" y="218812"/>
                      <a:pt x="30655" y="189078"/>
                    </a:cubicBezTo>
                    <a:cubicBezTo>
                      <a:pt x="33500" y="159544"/>
                      <a:pt x="53963" y="147737"/>
                      <a:pt x="55033" y="116443"/>
                    </a:cubicBezTo>
                    <a:close/>
                    <a:moveTo>
                      <a:pt x="99565" y="312998"/>
                    </a:moveTo>
                    <a:cubicBezTo>
                      <a:pt x="96589" y="304635"/>
                      <a:pt x="101179" y="294692"/>
                      <a:pt x="101677" y="286301"/>
                    </a:cubicBezTo>
                    <a:cubicBezTo>
                      <a:pt x="103855" y="293841"/>
                      <a:pt x="99640" y="304152"/>
                      <a:pt x="99565" y="312998"/>
                    </a:cubicBezTo>
                    <a:close/>
                    <a:moveTo>
                      <a:pt x="118639" y="255309"/>
                    </a:moveTo>
                    <a:cubicBezTo>
                      <a:pt x="119296" y="261052"/>
                      <a:pt x="129115" y="257570"/>
                      <a:pt x="134522" y="258516"/>
                    </a:cubicBezTo>
                    <a:lnTo>
                      <a:pt x="134522" y="254250"/>
                    </a:lnTo>
                    <a:cubicBezTo>
                      <a:pt x="128449" y="251837"/>
                      <a:pt x="119963" y="251837"/>
                      <a:pt x="112284" y="251043"/>
                    </a:cubicBezTo>
                    <a:cubicBezTo>
                      <a:pt x="110191" y="250059"/>
                      <a:pt x="110191" y="247457"/>
                      <a:pt x="112284" y="249974"/>
                    </a:cubicBezTo>
                    <a:cubicBezTo>
                      <a:pt x="134672" y="252490"/>
                      <a:pt x="167442" y="256482"/>
                      <a:pt x="184357" y="251043"/>
                    </a:cubicBezTo>
                    <a:cubicBezTo>
                      <a:pt x="167010" y="257769"/>
                      <a:pt x="146509" y="261326"/>
                      <a:pt x="121812" y="260654"/>
                    </a:cubicBezTo>
                    <a:cubicBezTo>
                      <a:pt x="117963" y="261326"/>
                      <a:pt x="124281" y="265649"/>
                      <a:pt x="120751" y="265990"/>
                    </a:cubicBezTo>
                    <a:cubicBezTo>
                      <a:pt x="115429" y="267797"/>
                      <a:pt x="117043" y="262603"/>
                      <a:pt x="115457" y="260654"/>
                    </a:cubicBezTo>
                    <a:cubicBezTo>
                      <a:pt x="110623" y="260172"/>
                      <a:pt x="107581" y="257911"/>
                      <a:pt x="103799" y="256378"/>
                    </a:cubicBezTo>
                    <a:cubicBezTo>
                      <a:pt x="108576" y="253871"/>
                      <a:pt x="114809" y="261988"/>
                      <a:pt x="118639" y="255309"/>
                    </a:cubicBezTo>
                    <a:close/>
                    <a:moveTo>
                      <a:pt x="152564" y="205094"/>
                    </a:moveTo>
                    <a:cubicBezTo>
                      <a:pt x="142276" y="208273"/>
                      <a:pt x="140079" y="187565"/>
                      <a:pt x="151494" y="190147"/>
                    </a:cubicBezTo>
                    <a:cubicBezTo>
                      <a:pt x="154779" y="192465"/>
                      <a:pt x="156403" y="201963"/>
                      <a:pt x="152564" y="205094"/>
                    </a:cubicBezTo>
                    <a:close/>
                    <a:moveTo>
                      <a:pt x="152564" y="173034"/>
                    </a:moveTo>
                    <a:cubicBezTo>
                      <a:pt x="148912" y="173526"/>
                      <a:pt x="146622" y="172636"/>
                      <a:pt x="144078" y="171974"/>
                    </a:cubicBezTo>
                    <a:cubicBezTo>
                      <a:pt x="132166" y="147936"/>
                      <a:pt x="162899" y="151701"/>
                      <a:pt x="152564" y="173034"/>
                    </a:cubicBezTo>
                    <a:close/>
                    <a:moveTo>
                      <a:pt x="150442" y="127114"/>
                    </a:moveTo>
                    <a:cubicBezTo>
                      <a:pt x="153071" y="129867"/>
                      <a:pt x="153840" y="139526"/>
                      <a:pt x="150442" y="142089"/>
                    </a:cubicBezTo>
                    <a:cubicBezTo>
                      <a:pt x="146997" y="142695"/>
                      <a:pt x="145514" y="141352"/>
                      <a:pt x="143027" y="141011"/>
                    </a:cubicBezTo>
                    <a:cubicBezTo>
                      <a:pt x="140248" y="134796"/>
                      <a:pt x="141534" y="121561"/>
                      <a:pt x="150442" y="127114"/>
                    </a:cubicBezTo>
                    <a:close/>
                    <a:moveTo>
                      <a:pt x="181184" y="75849"/>
                    </a:moveTo>
                    <a:cubicBezTo>
                      <a:pt x="180706" y="97078"/>
                      <a:pt x="174876" y="122176"/>
                      <a:pt x="175881" y="148485"/>
                    </a:cubicBezTo>
                    <a:cubicBezTo>
                      <a:pt x="176388" y="153508"/>
                      <a:pt x="173966" y="151067"/>
                      <a:pt x="174811" y="147416"/>
                    </a:cubicBezTo>
                    <a:cubicBezTo>
                      <a:pt x="174830" y="121419"/>
                      <a:pt x="173356" y="93965"/>
                      <a:pt x="181184" y="75849"/>
                    </a:cubicBezTo>
                    <a:close/>
                    <a:moveTo>
                      <a:pt x="192824" y="56607"/>
                    </a:moveTo>
                    <a:cubicBezTo>
                      <a:pt x="195462" y="58300"/>
                      <a:pt x="193266" y="64081"/>
                      <a:pt x="192824" y="66219"/>
                    </a:cubicBezTo>
                    <a:cubicBezTo>
                      <a:pt x="191125" y="63286"/>
                      <a:pt x="190018" y="58537"/>
                      <a:pt x="192824" y="56607"/>
                    </a:cubicBezTo>
                    <a:close/>
                    <a:moveTo>
                      <a:pt x="199208" y="123907"/>
                    </a:moveTo>
                    <a:cubicBezTo>
                      <a:pt x="200756" y="123008"/>
                      <a:pt x="200728" y="120473"/>
                      <a:pt x="201320" y="118571"/>
                    </a:cubicBezTo>
                    <a:cubicBezTo>
                      <a:pt x="203385" y="118552"/>
                      <a:pt x="197959" y="144540"/>
                      <a:pt x="199208" y="123907"/>
                    </a:cubicBezTo>
                    <a:close/>
                    <a:moveTo>
                      <a:pt x="209787" y="258516"/>
                    </a:moveTo>
                    <a:cubicBezTo>
                      <a:pt x="171713" y="290993"/>
                      <a:pt x="126158" y="325192"/>
                      <a:pt x="90028" y="363212"/>
                    </a:cubicBezTo>
                    <a:cubicBezTo>
                      <a:pt x="122798" y="325381"/>
                      <a:pt x="167789" y="290605"/>
                      <a:pt x="209787" y="258516"/>
                    </a:cubicBezTo>
                    <a:close/>
                    <a:moveTo>
                      <a:pt x="211917" y="14954"/>
                    </a:moveTo>
                    <a:cubicBezTo>
                      <a:pt x="216480" y="19135"/>
                      <a:pt x="212293" y="30128"/>
                      <a:pt x="209787" y="36305"/>
                    </a:cubicBezTo>
                    <a:cubicBezTo>
                      <a:pt x="207139" y="30062"/>
                      <a:pt x="212077" y="22248"/>
                      <a:pt x="211917" y="14954"/>
                    </a:cubicBezTo>
                    <a:close/>
                    <a:moveTo>
                      <a:pt x="222515" y="413418"/>
                    </a:moveTo>
                    <a:cubicBezTo>
                      <a:pt x="223332" y="403664"/>
                      <a:pt x="221060" y="397089"/>
                      <a:pt x="221455" y="387780"/>
                    </a:cubicBezTo>
                    <a:cubicBezTo>
                      <a:pt x="222600" y="394261"/>
                      <a:pt x="227631" y="407675"/>
                      <a:pt x="222515" y="413418"/>
                    </a:cubicBezTo>
                    <a:close/>
                    <a:moveTo>
                      <a:pt x="198147" y="333299"/>
                    </a:moveTo>
                    <a:cubicBezTo>
                      <a:pt x="201930" y="341927"/>
                      <a:pt x="202624" y="353705"/>
                      <a:pt x="204502" y="364281"/>
                    </a:cubicBezTo>
                    <a:cubicBezTo>
                      <a:pt x="201733" y="358870"/>
                      <a:pt x="199151" y="344027"/>
                      <a:pt x="198147" y="333299"/>
                    </a:cubicBezTo>
                    <a:close/>
                    <a:moveTo>
                      <a:pt x="157849" y="443321"/>
                    </a:moveTo>
                    <a:lnTo>
                      <a:pt x="137714" y="443321"/>
                    </a:lnTo>
                    <a:cubicBezTo>
                      <a:pt x="139460" y="436179"/>
                      <a:pt x="149494" y="439906"/>
                      <a:pt x="153624" y="442262"/>
                    </a:cubicBezTo>
                    <a:cubicBezTo>
                      <a:pt x="160909" y="441439"/>
                      <a:pt x="170418" y="443586"/>
                      <a:pt x="157849" y="443321"/>
                    </a:cubicBezTo>
                    <a:close/>
                    <a:moveTo>
                      <a:pt x="136662" y="408063"/>
                    </a:moveTo>
                    <a:cubicBezTo>
                      <a:pt x="137695" y="410305"/>
                      <a:pt x="139384" y="417334"/>
                      <a:pt x="137714" y="418763"/>
                    </a:cubicBezTo>
                    <a:cubicBezTo>
                      <a:pt x="132541" y="417921"/>
                      <a:pt x="137638" y="411544"/>
                      <a:pt x="136662" y="408063"/>
                    </a:cubicBezTo>
                    <a:close/>
                    <a:moveTo>
                      <a:pt x="152564" y="409132"/>
                    </a:moveTo>
                    <a:cubicBezTo>
                      <a:pt x="154159" y="411790"/>
                      <a:pt x="154601" y="415631"/>
                      <a:pt x="154685" y="419813"/>
                    </a:cubicBezTo>
                    <a:cubicBezTo>
                      <a:pt x="150987" y="419283"/>
                      <a:pt x="153118" y="412831"/>
                      <a:pt x="152564" y="409132"/>
                    </a:cubicBezTo>
                    <a:close/>
                    <a:moveTo>
                      <a:pt x="50800" y="283094"/>
                    </a:moveTo>
                    <a:cubicBezTo>
                      <a:pt x="56188" y="291211"/>
                      <a:pt x="66786" y="304029"/>
                      <a:pt x="65641" y="312998"/>
                    </a:cubicBezTo>
                    <a:cubicBezTo>
                      <a:pt x="64148" y="324709"/>
                      <a:pt x="41685" y="328039"/>
                      <a:pt x="40183" y="338616"/>
                    </a:cubicBezTo>
                    <a:cubicBezTo>
                      <a:pt x="38005" y="354405"/>
                      <a:pt x="54667" y="358643"/>
                      <a:pt x="69874" y="358927"/>
                    </a:cubicBezTo>
                    <a:lnTo>
                      <a:pt x="69874" y="373893"/>
                    </a:lnTo>
                    <a:cubicBezTo>
                      <a:pt x="76877" y="368368"/>
                      <a:pt x="83607" y="361632"/>
                      <a:pt x="90206" y="354821"/>
                    </a:cubicBezTo>
                    <a:cubicBezTo>
                      <a:pt x="92525" y="351046"/>
                      <a:pt x="96017" y="347887"/>
                      <a:pt x="99790" y="344916"/>
                    </a:cubicBezTo>
                    <a:cubicBezTo>
                      <a:pt x="106108" y="338474"/>
                      <a:pt x="112359" y="332457"/>
                      <a:pt x="118639" y="327954"/>
                    </a:cubicBezTo>
                    <a:cubicBezTo>
                      <a:pt x="114988" y="334520"/>
                      <a:pt x="106877" y="339363"/>
                      <a:pt x="99790" y="344916"/>
                    </a:cubicBezTo>
                    <a:cubicBezTo>
                      <a:pt x="96617" y="348161"/>
                      <a:pt x="93426" y="351491"/>
                      <a:pt x="90206" y="354821"/>
                    </a:cubicBezTo>
                    <a:cubicBezTo>
                      <a:pt x="89202" y="356429"/>
                      <a:pt x="88404" y="358142"/>
                      <a:pt x="87906" y="360005"/>
                    </a:cubicBezTo>
                    <a:cubicBezTo>
                      <a:pt x="86404" y="365473"/>
                      <a:pt x="90535" y="373524"/>
                      <a:pt x="85776" y="379219"/>
                    </a:cubicBezTo>
                    <a:cubicBezTo>
                      <a:pt x="85757" y="372777"/>
                      <a:pt x="85438" y="366088"/>
                      <a:pt x="86836" y="361065"/>
                    </a:cubicBezTo>
                    <a:cubicBezTo>
                      <a:pt x="77618" y="365038"/>
                      <a:pt x="66288" y="377876"/>
                      <a:pt x="71995" y="397383"/>
                    </a:cubicBezTo>
                    <a:cubicBezTo>
                      <a:pt x="117700" y="353005"/>
                      <a:pt x="162091" y="307293"/>
                      <a:pt x="214030" y="269197"/>
                    </a:cubicBezTo>
                    <a:cubicBezTo>
                      <a:pt x="169742" y="305240"/>
                      <a:pt x="127078" y="345058"/>
                      <a:pt x="87906" y="384564"/>
                    </a:cubicBezTo>
                    <a:cubicBezTo>
                      <a:pt x="82349" y="390155"/>
                      <a:pt x="74164" y="396200"/>
                      <a:pt x="73056" y="404866"/>
                    </a:cubicBezTo>
                    <a:cubicBezTo>
                      <a:pt x="118855" y="365208"/>
                      <a:pt x="164926" y="316536"/>
                      <a:pt x="218282" y="280965"/>
                    </a:cubicBezTo>
                    <a:cubicBezTo>
                      <a:pt x="176791" y="314445"/>
                      <a:pt x="130504" y="353090"/>
                      <a:pt x="91079" y="392047"/>
                    </a:cubicBezTo>
                    <a:cubicBezTo>
                      <a:pt x="81908" y="401100"/>
                      <a:pt x="70109" y="406966"/>
                      <a:pt x="75178" y="420910"/>
                    </a:cubicBezTo>
                    <a:cubicBezTo>
                      <a:pt x="122338" y="374792"/>
                      <a:pt x="170155" y="323602"/>
                      <a:pt x="225688" y="289498"/>
                    </a:cubicBezTo>
                    <a:cubicBezTo>
                      <a:pt x="200531" y="312903"/>
                      <a:pt x="167649" y="328550"/>
                      <a:pt x="147260" y="356808"/>
                    </a:cubicBezTo>
                    <a:cubicBezTo>
                      <a:pt x="147983" y="353241"/>
                      <a:pt x="145064" y="355076"/>
                      <a:pt x="144078" y="355748"/>
                    </a:cubicBezTo>
                    <a:cubicBezTo>
                      <a:pt x="121981" y="379749"/>
                      <a:pt x="95960" y="399833"/>
                      <a:pt x="76248" y="426227"/>
                    </a:cubicBezTo>
                    <a:cubicBezTo>
                      <a:pt x="78031" y="435327"/>
                      <a:pt x="81279" y="444182"/>
                      <a:pt x="79411" y="454011"/>
                    </a:cubicBezTo>
                    <a:cubicBezTo>
                      <a:pt x="81805" y="457663"/>
                      <a:pt x="88366" y="457105"/>
                      <a:pt x="92149" y="459366"/>
                    </a:cubicBezTo>
                    <a:cubicBezTo>
                      <a:pt x="97481" y="483887"/>
                      <a:pt x="102118" y="509108"/>
                      <a:pt x="104850" y="536277"/>
                    </a:cubicBezTo>
                    <a:cubicBezTo>
                      <a:pt x="117372" y="527498"/>
                      <a:pt x="132203" y="511832"/>
                      <a:pt x="145129" y="499950"/>
                    </a:cubicBezTo>
                    <a:cubicBezTo>
                      <a:pt x="145946" y="485590"/>
                      <a:pt x="143749" y="474285"/>
                      <a:pt x="144078" y="460425"/>
                    </a:cubicBezTo>
                    <a:cubicBezTo>
                      <a:pt x="151165" y="461116"/>
                      <a:pt x="161040" y="459016"/>
                      <a:pt x="166334" y="461494"/>
                    </a:cubicBezTo>
                    <a:cubicBezTo>
                      <a:pt x="168493" y="468580"/>
                      <a:pt x="167527" y="478807"/>
                      <a:pt x="169526" y="486072"/>
                    </a:cubicBezTo>
                    <a:cubicBezTo>
                      <a:pt x="181260" y="479724"/>
                      <a:pt x="197677" y="463150"/>
                      <a:pt x="209787" y="457218"/>
                    </a:cubicBezTo>
                    <a:cubicBezTo>
                      <a:pt x="204455" y="461580"/>
                      <a:pt x="196851" y="466603"/>
                      <a:pt x="188600" y="473225"/>
                    </a:cubicBezTo>
                    <a:cubicBezTo>
                      <a:pt x="177880" y="481862"/>
                      <a:pt x="164626" y="488380"/>
                      <a:pt x="171629" y="505286"/>
                    </a:cubicBezTo>
                    <a:cubicBezTo>
                      <a:pt x="186329" y="494813"/>
                      <a:pt x="200334" y="483650"/>
                      <a:pt x="214030" y="472156"/>
                    </a:cubicBezTo>
                    <a:cubicBezTo>
                      <a:pt x="212856" y="467653"/>
                      <a:pt x="212809" y="462015"/>
                      <a:pt x="212978" y="456159"/>
                    </a:cubicBezTo>
                    <a:cubicBezTo>
                      <a:pt x="222628" y="456613"/>
                      <a:pt x="230447" y="455232"/>
                      <a:pt x="236286" y="451873"/>
                    </a:cubicBezTo>
                    <a:cubicBezTo>
                      <a:pt x="242416" y="433208"/>
                      <a:pt x="241055" y="412226"/>
                      <a:pt x="242660" y="390987"/>
                    </a:cubicBezTo>
                    <a:cubicBezTo>
                      <a:pt x="243946" y="374044"/>
                      <a:pt x="244274" y="355341"/>
                      <a:pt x="242660" y="340773"/>
                    </a:cubicBezTo>
                    <a:cubicBezTo>
                      <a:pt x="241815" y="333138"/>
                      <a:pt x="238342" y="326459"/>
                      <a:pt x="237356" y="319412"/>
                    </a:cubicBezTo>
                    <a:cubicBezTo>
                      <a:pt x="234596" y="299668"/>
                      <a:pt x="232634" y="283661"/>
                      <a:pt x="226758" y="265990"/>
                    </a:cubicBezTo>
                    <a:cubicBezTo>
                      <a:pt x="221558" y="250390"/>
                      <a:pt x="214086" y="235263"/>
                      <a:pt x="208726" y="218991"/>
                    </a:cubicBezTo>
                    <a:cubicBezTo>
                      <a:pt x="196758" y="182428"/>
                      <a:pt x="208604" y="138551"/>
                      <a:pt x="211917" y="95063"/>
                    </a:cubicBezTo>
                    <a:cubicBezTo>
                      <a:pt x="217146" y="98336"/>
                      <a:pt x="217634" y="106396"/>
                      <a:pt x="222515" y="110029"/>
                    </a:cubicBezTo>
                    <a:cubicBezTo>
                      <a:pt x="222074" y="75376"/>
                      <a:pt x="222938" y="42086"/>
                      <a:pt x="228880" y="13875"/>
                    </a:cubicBezTo>
                    <a:cubicBezTo>
                      <a:pt x="224731" y="3989"/>
                      <a:pt x="212359" y="6411"/>
                      <a:pt x="206614" y="-12"/>
                    </a:cubicBezTo>
                    <a:cubicBezTo>
                      <a:pt x="194354" y="1899"/>
                      <a:pt x="180837" y="2495"/>
                      <a:pt x="167386" y="3214"/>
                    </a:cubicBezTo>
                    <a:cubicBezTo>
                      <a:pt x="167376" y="39863"/>
                      <a:pt x="162195" y="71308"/>
                      <a:pt x="159979" y="105762"/>
                    </a:cubicBezTo>
                    <a:cubicBezTo>
                      <a:pt x="155098" y="88138"/>
                      <a:pt x="150611" y="64658"/>
                      <a:pt x="147260" y="47005"/>
                    </a:cubicBezTo>
                    <a:cubicBezTo>
                      <a:pt x="146077" y="40771"/>
                      <a:pt x="147833" y="31339"/>
                      <a:pt x="140896" y="28832"/>
                    </a:cubicBezTo>
                    <a:cubicBezTo>
                      <a:pt x="140323" y="49370"/>
                      <a:pt x="141074" y="83484"/>
                      <a:pt x="141947" y="102536"/>
                    </a:cubicBezTo>
                    <a:cubicBezTo>
                      <a:pt x="128195" y="73531"/>
                      <a:pt x="127200" y="37829"/>
                      <a:pt x="114406" y="7471"/>
                    </a:cubicBezTo>
                    <a:cubicBezTo>
                      <a:pt x="96326" y="8133"/>
                      <a:pt x="75713" y="7745"/>
                      <a:pt x="64570" y="9609"/>
                    </a:cubicBezTo>
                    <a:cubicBezTo>
                      <a:pt x="65237" y="28633"/>
                      <a:pt x="75422" y="52728"/>
                      <a:pt x="75178" y="72642"/>
                    </a:cubicBezTo>
                    <a:cubicBezTo>
                      <a:pt x="69799" y="57042"/>
                      <a:pt x="69273" y="36580"/>
                      <a:pt x="63519" y="21358"/>
                    </a:cubicBezTo>
                    <a:cubicBezTo>
                      <a:pt x="63735" y="41518"/>
                      <a:pt x="72286" y="64412"/>
                      <a:pt x="67752" y="82254"/>
                    </a:cubicBezTo>
                    <a:cubicBezTo>
                      <a:pt x="66823" y="58622"/>
                      <a:pt x="64148" y="36760"/>
                      <a:pt x="60337" y="16023"/>
                    </a:cubicBezTo>
                    <a:cubicBezTo>
                      <a:pt x="46069" y="35539"/>
                      <a:pt x="59361" y="76559"/>
                      <a:pt x="55033" y="102536"/>
                    </a:cubicBezTo>
                    <a:cubicBezTo>
                      <a:pt x="52593" y="80456"/>
                      <a:pt x="53775" y="54668"/>
                      <a:pt x="50800" y="33098"/>
                    </a:cubicBezTo>
                    <a:cubicBezTo>
                      <a:pt x="37949" y="53353"/>
                      <a:pt x="53240" y="84108"/>
                      <a:pt x="48669" y="111098"/>
                    </a:cubicBezTo>
                    <a:cubicBezTo>
                      <a:pt x="47120" y="92007"/>
                      <a:pt x="46773" y="71696"/>
                      <a:pt x="42314" y="55529"/>
                    </a:cubicBezTo>
                    <a:cubicBezTo>
                      <a:pt x="29623" y="102026"/>
                      <a:pt x="2804" y="138107"/>
                      <a:pt x="-96" y="185890"/>
                    </a:cubicBezTo>
                    <a:cubicBezTo>
                      <a:pt x="-1298" y="206305"/>
                      <a:pt x="6456" y="215160"/>
                      <a:pt x="14763" y="229672"/>
                    </a:cubicBezTo>
                    <a:cubicBezTo>
                      <a:pt x="26929" y="251005"/>
                      <a:pt x="37311" y="262802"/>
                      <a:pt x="50800" y="283094"/>
                    </a:cubicBezTo>
                    <a:close/>
                  </a:path>
                </a:pathLst>
              </a:custGeom>
              <a:solidFill>
                <a:schemeClr val="bg1"/>
              </a:solidFill>
              <a:ln w="9318" cap="flat">
                <a:noFill/>
                <a:prstDash val="solid"/>
                <a:round/>
              </a:ln>
            </p:spPr>
            <p:txBody>
              <a:bodyPr rtlCol="0" anchor="ctr"/>
              <a:lstStyle/>
              <a:p>
                <a:endParaRPr lang="en-LT"/>
              </a:p>
            </p:txBody>
          </p:sp>
          <p:sp>
            <p:nvSpPr>
              <p:cNvPr id="177" name="Freeform 176">
                <a:extLst>
                  <a:ext uri="{FF2B5EF4-FFF2-40B4-BE49-F238E27FC236}">
                    <a16:creationId xmlns:a16="http://schemas.microsoft.com/office/drawing/2014/main" id="{F214D9D7-43A8-E848-8B29-E31DD97D7459}"/>
                  </a:ext>
                </a:extLst>
              </p:cNvPr>
              <p:cNvSpPr/>
              <p:nvPr/>
            </p:nvSpPr>
            <p:spPr>
              <a:xfrm>
                <a:off x="6606499" y="3730743"/>
                <a:ext cx="113463" cy="154274"/>
              </a:xfrm>
              <a:custGeom>
                <a:avLst/>
                <a:gdLst>
                  <a:gd name="connsiteX0" fmla="*/ 1142 w 41641"/>
                  <a:gd name="connsiteY0" fmla="*/ 43770 h 56619"/>
                  <a:gd name="connsiteX1" fmla="*/ 7516 w 41641"/>
                  <a:gd name="connsiteY1" fmla="*/ 41641 h 56619"/>
                  <a:gd name="connsiteX2" fmla="*/ 2203 w 41641"/>
                  <a:gd name="connsiteY2" fmla="*/ 56607 h 56619"/>
                  <a:gd name="connsiteX3" fmla="*/ 41422 w 41641"/>
                  <a:gd name="connsiteY3" fmla="*/ 27763 h 56619"/>
                  <a:gd name="connsiteX4" fmla="*/ 41422 w 41641"/>
                  <a:gd name="connsiteY4" fmla="*/ -12 h 56619"/>
                  <a:gd name="connsiteX5" fmla="*/ 81 w 41641"/>
                  <a:gd name="connsiteY5" fmla="*/ 33108 h 56619"/>
                  <a:gd name="connsiteX6" fmla="*/ 1142 w 41641"/>
                  <a:gd name="connsiteY6" fmla="*/ 43770 h 5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1" h="56619">
                    <a:moveTo>
                      <a:pt x="1142" y="43770"/>
                    </a:moveTo>
                    <a:cubicBezTo>
                      <a:pt x="2043" y="46664"/>
                      <a:pt x="6615" y="38784"/>
                      <a:pt x="7516" y="41641"/>
                    </a:cubicBezTo>
                    <a:cubicBezTo>
                      <a:pt x="1011" y="43770"/>
                      <a:pt x="832" y="48490"/>
                      <a:pt x="2203" y="56607"/>
                    </a:cubicBezTo>
                    <a:cubicBezTo>
                      <a:pt x="16133" y="47856"/>
                      <a:pt x="27670" y="36693"/>
                      <a:pt x="41422" y="27763"/>
                    </a:cubicBezTo>
                    <a:lnTo>
                      <a:pt x="41422" y="-12"/>
                    </a:lnTo>
                    <a:cubicBezTo>
                      <a:pt x="26365" y="9713"/>
                      <a:pt x="12575" y="20753"/>
                      <a:pt x="81" y="33108"/>
                    </a:cubicBezTo>
                    <a:cubicBezTo>
                      <a:pt x="-548" y="33486"/>
                      <a:pt x="-191" y="41868"/>
                      <a:pt x="1142" y="43770"/>
                    </a:cubicBezTo>
                    <a:close/>
                  </a:path>
                </a:pathLst>
              </a:custGeom>
              <a:solidFill>
                <a:schemeClr val="bg1"/>
              </a:solidFill>
              <a:ln w="9318" cap="flat">
                <a:noFill/>
                <a:prstDash val="solid"/>
                <a:round/>
              </a:ln>
            </p:spPr>
            <p:txBody>
              <a:bodyPr rtlCol="0" anchor="ctr"/>
              <a:lstStyle/>
              <a:p>
                <a:endParaRPr lang="en-LT"/>
              </a:p>
            </p:txBody>
          </p:sp>
        </p:grpSp>
        <p:grpSp>
          <p:nvGrpSpPr>
            <p:cNvPr id="70" name="Graphic 177">
              <a:extLst>
                <a:ext uri="{FF2B5EF4-FFF2-40B4-BE49-F238E27FC236}">
                  <a16:creationId xmlns:a16="http://schemas.microsoft.com/office/drawing/2014/main" id="{685377CC-C83C-064A-9A17-AA2167B09421}"/>
                </a:ext>
              </a:extLst>
            </p:cNvPr>
            <p:cNvGrpSpPr/>
            <p:nvPr/>
          </p:nvGrpSpPr>
          <p:grpSpPr>
            <a:xfrm>
              <a:off x="5016550" y="1928671"/>
              <a:ext cx="1895585" cy="3024801"/>
              <a:chOff x="4990387" y="1748539"/>
              <a:chExt cx="1648380" cy="2630334"/>
            </a:xfrm>
            <a:solidFill>
              <a:schemeClr val="bg1"/>
            </a:solidFill>
          </p:grpSpPr>
          <p:sp>
            <p:nvSpPr>
              <p:cNvPr id="71" name="Freeform 70">
                <a:extLst>
                  <a:ext uri="{FF2B5EF4-FFF2-40B4-BE49-F238E27FC236}">
                    <a16:creationId xmlns:a16="http://schemas.microsoft.com/office/drawing/2014/main" id="{EE4CAF02-9F37-E041-91AE-93154E96DE33}"/>
                  </a:ext>
                </a:extLst>
              </p:cNvPr>
              <p:cNvSpPr/>
              <p:nvPr/>
            </p:nvSpPr>
            <p:spPr>
              <a:xfrm rot="-1917689">
                <a:off x="5846942" y="3093935"/>
                <a:ext cx="12114" cy="34638"/>
              </a:xfrm>
              <a:custGeom>
                <a:avLst/>
                <a:gdLst>
                  <a:gd name="connsiteX0" fmla="*/ 7272 w 12114"/>
                  <a:gd name="connsiteY0" fmla="*/ 34535 h 34638"/>
                  <a:gd name="connsiteX1" fmla="*/ 1768 w 12114"/>
                  <a:gd name="connsiteY1" fmla="*/ -103 h 34638"/>
                  <a:gd name="connsiteX2" fmla="*/ 7272 w 12114"/>
                  <a:gd name="connsiteY2" fmla="*/ 34535 h 34638"/>
                </a:gdLst>
                <a:ahLst/>
                <a:cxnLst>
                  <a:cxn ang="0">
                    <a:pos x="connsiteX0" y="connsiteY0"/>
                  </a:cxn>
                  <a:cxn ang="0">
                    <a:pos x="connsiteX1" y="connsiteY1"/>
                  </a:cxn>
                  <a:cxn ang="0">
                    <a:pos x="connsiteX2" y="connsiteY2"/>
                  </a:cxn>
                </a:cxnLst>
                <a:rect l="l" t="t" r="r" b="b"/>
                <a:pathLst>
                  <a:path w="12114" h="34638">
                    <a:moveTo>
                      <a:pt x="7272" y="34535"/>
                    </a:moveTo>
                    <a:cubicBezTo>
                      <a:pt x="19236" y="19985"/>
                      <a:pt x="5644" y="11023"/>
                      <a:pt x="1768" y="-103"/>
                    </a:cubicBezTo>
                    <a:cubicBezTo>
                      <a:pt x="-1798" y="12645"/>
                      <a:pt x="-67" y="24234"/>
                      <a:pt x="7272" y="34535"/>
                    </a:cubicBezTo>
                    <a:close/>
                  </a:path>
                </a:pathLst>
              </a:custGeom>
              <a:grpFill/>
              <a:ln w="25598" cap="flat">
                <a:noFill/>
                <a:prstDash val="solid"/>
                <a:round/>
              </a:ln>
            </p:spPr>
            <p:txBody>
              <a:bodyPr rtlCol="0" anchor="ctr"/>
              <a:lstStyle/>
              <a:p>
                <a:endParaRPr lang="en-LT"/>
              </a:p>
            </p:txBody>
          </p:sp>
          <p:sp>
            <p:nvSpPr>
              <p:cNvPr id="72" name="Freeform 71">
                <a:extLst>
                  <a:ext uri="{FF2B5EF4-FFF2-40B4-BE49-F238E27FC236}">
                    <a16:creationId xmlns:a16="http://schemas.microsoft.com/office/drawing/2014/main" id="{BF57B96A-A596-2C4D-8F35-427C1B834707}"/>
                  </a:ext>
                </a:extLst>
              </p:cNvPr>
              <p:cNvSpPr/>
              <p:nvPr/>
            </p:nvSpPr>
            <p:spPr>
              <a:xfrm rot="-1917689">
                <a:off x="5750093" y="1800622"/>
                <a:ext cx="30621" cy="81741"/>
              </a:xfrm>
              <a:custGeom>
                <a:avLst/>
                <a:gdLst>
                  <a:gd name="connsiteX0" fmla="*/ -47 w 30621"/>
                  <a:gd name="connsiteY0" fmla="*/ -109 h 81741"/>
                  <a:gd name="connsiteX1" fmla="*/ 30574 w 30621"/>
                  <a:gd name="connsiteY1" fmla="*/ 81633 h 81741"/>
                  <a:gd name="connsiteX2" fmla="*/ -47 w 30621"/>
                  <a:gd name="connsiteY2" fmla="*/ -109 h 81741"/>
                </a:gdLst>
                <a:ahLst/>
                <a:cxnLst>
                  <a:cxn ang="0">
                    <a:pos x="connsiteX0" y="connsiteY0"/>
                  </a:cxn>
                  <a:cxn ang="0">
                    <a:pos x="connsiteX1" y="connsiteY1"/>
                  </a:cxn>
                  <a:cxn ang="0">
                    <a:pos x="connsiteX2" y="connsiteY2"/>
                  </a:cxn>
                </a:cxnLst>
                <a:rect l="l" t="t" r="r" b="b"/>
                <a:pathLst>
                  <a:path w="30621" h="81741">
                    <a:moveTo>
                      <a:pt x="-47" y="-109"/>
                    </a:moveTo>
                    <a:cubicBezTo>
                      <a:pt x="26594" y="20880"/>
                      <a:pt x="26336" y="69735"/>
                      <a:pt x="30574" y="81633"/>
                    </a:cubicBezTo>
                    <a:cubicBezTo>
                      <a:pt x="29463" y="53793"/>
                      <a:pt x="31426" y="14081"/>
                      <a:pt x="-47" y="-109"/>
                    </a:cubicBezTo>
                    <a:close/>
                  </a:path>
                </a:pathLst>
              </a:custGeom>
              <a:grpFill/>
              <a:ln w="25598" cap="flat">
                <a:noFill/>
                <a:prstDash val="solid"/>
                <a:round/>
              </a:ln>
            </p:spPr>
            <p:txBody>
              <a:bodyPr rtlCol="0" anchor="ctr"/>
              <a:lstStyle/>
              <a:p>
                <a:endParaRPr lang="en-LT"/>
              </a:p>
            </p:txBody>
          </p:sp>
          <p:sp>
            <p:nvSpPr>
              <p:cNvPr id="73" name="Freeform 72">
                <a:extLst>
                  <a:ext uri="{FF2B5EF4-FFF2-40B4-BE49-F238E27FC236}">
                    <a16:creationId xmlns:a16="http://schemas.microsoft.com/office/drawing/2014/main" id="{A052C850-BBAF-E840-9CC6-73303D8F8DD1}"/>
                  </a:ext>
                </a:extLst>
              </p:cNvPr>
              <p:cNvSpPr/>
              <p:nvPr/>
            </p:nvSpPr>
            <p:spPr>
              <a:xfrm rot="-1917689">
                <a:off x="5446056" y="3054622"/>
                <a:ext cx="18631" cy="21864"/>
              </a:xfrm>
              <a:custGeom>
                <a:avLst/>
                <a:gdLst>
                  <a:gd name="connsiteX0" fmla="*/ 9460 w 18631"/>
                  <a:gd name="connsiteY0" fmla="*/ -95 h 21864"/>
                  <a:gd name="connsiteX1" fmla="*/ -24 w 18631"/>
                  <a:gd name="connsiteY1" fmla="*/ 14584 h 21864"/>
                  <a:gd name="connsiteX2" fmla="*/ 5790 w 18631"/>
                  <a:gd name="connsiteY2" fmla="*/ 21769 h 21864"/>
                  <a:gd name="connsiteX3" fmla="*/ 18607 w 18631"/>
                  <a:gd name="connsiteY3" fmla="*/ 12679 h 21864"/>
                  <a:gd name="connsiteX4" fmla="*/ 9460 w 18631"/>
                  <a:gd name="connsiteY4" fmla="*/ -95 h 21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1" h="21864">
                    <a:moveTo>
                      <a:pt x="9460" y="-95"/>
                    </a:moveTo>
                    <a:cubicBezTo>
                      <a:pt x="6281" y="4798"/>
                      <a:pt x="3154" y="9717"/>
                      <a:pt x="-24" y="14584"/>
                    </a:cubicBezTo>
                    <a:cubicBezTo>
                      <a:pt x="3439" y="16645"/>
                      <a:pt x="4679" y="19194"/>
                      <a:pt x="5790" y="21769"/>
                    </a:cubicBezTo>
                    <a:cubicBezTo>
                      <a:pt x="10390" y="20147"/>
                      <a:pt x="14007" y="14275"/>
                      <a:pt x="18607" y="12679"/>
                    </a:cubicBezTo>
                    <a:cubicBezTo>
                      <a:pt x="14602" y="8609"/>
                      <a:pt x="15868" y="3433"/>
                      <a:pt x="9460" y="-95"/>
                    </a:cubicBezTo>
                    <a:close/>
                  </a:path>
                </a:pathLst>
              </a:custGeom>
              <a:grpFill/>
              <a:ln w="25598" cap="flat">
                <a:noFill/>
                <a:prstDash val="solid"/>
                <a:round/>
              </a:ln>
            </p:spPr>
            <p:txBody>
              <a:bodyPr rtlCol="0" anchor="ctr"/>
              <a:lstStyle/>
              <a:p>
                <a:endParaRPr lang="en-LT"/>
              </a:p>
            </p:txBody>
          </p:sp>
          <p:sp>
            <p:nvSpPr>
              <p:cNvPr id="74" name="Freeform 73">
                <a:extLst>
                  <a:ext uri="{FF2B5EF4-FFF2-40B4-BE49-F238E27FC236}">
                    <a16:creationId xmlns:a16="http://schemas.microsoft.com/office/drawing/2014/main" id="{750201DB-7888-B44B-B19C-6BFF025F7F4B}"/>
                  </a:ext>
                </a:extLst>
              </p:cNvPr>
              <p:cNvSpPr/>
              <p:nvPr/>
            </p:nvSpPr>
            <p:spPr>
              <a:xfrm rot="-1917689">
                <a:off x="5500118" y="2744212"/>
                <a:ext cx="21617" cy="19191"/>
              </a:xfrm>
              <a:custGeom>
                <a:avLst/>
                <a:gdLst>
                  <a:gd name="connsiteX0" fmla="*/ 21573 w 21617"/>
                  <a:gd name="connsiteY0" fmla="*/ -98 h 19191"/>
                  <a:gd name="connsiteX1" fmla="*/ -30 w 21617"/>
                  <a:gd name="connsiteY1" fmla="*/ 17234 h 19191"/>
                  <a:gd name="connsiteX2" fmla="*/ 21573 w 21617"/>
                  <a:gd name="connsiteY2" fmla="*/ -98 h 19191"/>
                </a:gdLst>
                <a:ahLst/>
                <a:cxnLst>
                  <a:cxn ang="0">
                    <a:pos x="connsiteX0" y="connsiteY0"/>
                  </a:cxn>
                  <a:cxn ang="0">
                    <a:pos x="connsiteX1" y="connsiteY1"/>
                  </a:cxn>
                  <a:cxn ang="0">
                    <a:pos x="connsiteX2" y="connsiteY2"/>
                  </a:cxn>
                </a:cxnLst>
                <a:rect l="l" t="t" r="r" b="b"/>
                <a:pathLst>
                  <a:path w="21617" h="19191">
                    <a:moveTo>
                      <a:pt x="21573" y="-98"/>
                    </a:moveTo>
                    <a:cubicBezTo>
                      <a:pt x="14131" y="4666"/>
                      <a:pt x="6378" y="7757"/>
                      <a:pt x="-30" y="17234"/>
                    </a:cubicBezTo>
                    <a:cubicBezTo>
                      <a:pt x="8988" y="25655"/>
                      <a:pt x="22089" y="2915"/>
                      <a:pt x="21573" y="-98"/>
                    </a:cubicBezTo>
                    <a:close/>
                  </a:path>
                </a:pathLst>
              </a:custGeom>
              <a:grpFill/>
              <a:ln w="25598" cap="flat">
                <a:noFill/>
                <a:prstDash val="solid"/>
                <a:round/>
              </a:ln>
            </p:spPr>
            <p:txBody>
              <a:bodyPr rtlCol="0" anchor="ctr"/>
              <a:lstStyle/>
              <a:p>
                <a:endParaRPr lang="en-LT"/>
              </a:p>
            </p:txBody>
          </p:sp>
          <p:sp>
            <p:nvSpPr>
              <p:cNvPr id="75" name="Freeform 74">
                <a:extLst>
                  <a:ext uri="{FF2B5EF4-FFF2-40B4-BE49-F238E27FC236}">
                    <a16:creationId xmlns:a16="http://schemas.microsoft.com/office/drawing/2014/main" id="{AD385E49-67A0-8348-A85E-A55E1E6CF1A1}"/>
                  </a:ext>
                </a:extLst>
              </p:cNvPr>
              <p:cNvSpPr/>
              <p:nvPr/>
            </p:nvSpPr>
            <p:spPr>
              <a:xfrm rot="-1917689">
                <a:off x="5804793" y="3071917"/>
                <a:ext cx="15788" cy="24103"/>
              </a:xfrm>
              <a:custGeom>
                <a:avLst/>
                <a:gdLst>
                  <a:gd name="connsiteX0" fmla="*/ -21 w 15788"/>
                  <a:gd name="connsiteY0" fmla="*/ -21 h 24103"/>
                  <a:gd name="connsiteX1" fmla="*/ 15767 w 15788"/>
                  <a:gd name="connsiteY1" fmla="*/ 23878 h 24103"/>
                  <a:gd name="connsiteX2" fmla="*/ -21 w 15788"/>
                  <a:gd name="connsiteY2" fmla="*/ -21 h 24103"/>
                </a:gdLst>
                <a:ahLst/>
                <a:cxnLst>
                  <a:cxn ang="0">
                    <a:pos x="connsiteX0" y="connsiteY0"/>
                  </a:cxn>
                  <a:cxn ang="0">
                    <a:pos x="connsiteX1" y="connsiteY1"/>
                  </a:cxn>
                  <a:cxn ang="0">
                    <a:pos x="connsiteX2" y="connsiteY2"/>
                  </a:cxn>
                </a:cxnLst>
                <a:rect l="l" t="t" r="r" b="b"/>
                <a:pathLst>
                  <a:path w="15788" h="24103">
                    <a:moveTo>
                      <a:pt x="-21" y="-21"/>
                    </a:moveTo>
                    <a:cubicBezTo>
                      <a:pt x="5121" y="6675"/>
                      <a:pt x="3364" y="25706"/>
                      <a:pt x="15767" y="23878"/>
                    </a:cubicBezTo>
                    <a:cubicBezTo>
                      <a:pt x="10289" y="17337"/>
                      <a:pt x="10392" y="-1489"/>
                      <a:pt x="-21" y="-21"/>
                    </a:cubicBezTo>
                    <a:close/>
                  </a:path>
                </a:pathLst>
              </a:custGeom>
              <a:grpFill/>
              <a:ln w="25598" cap="flat">
                <a:noFill/>
                <a:prstDash val="solid"/>
                <a:round/>
              </a:ln>
            </p:spPr>
            <p:txBody>
              <a:bodyPr rtlCol="0" anchor="ctr"/>
              <a:lstStyle/>
              <a:p>
                <a:endParaRPr lang="en-LT"/>
              </a:p>
            </p:txBody>
          </p:sp>
          <p:sp>
            <p:nvSpPr>
              <p:cNvPr id="76" name="Freeform 75">
                <a:extLst>
                  <a:ext uri="{FF2B5EF4-FFF2-40B4-BE49-F238E27FC236}">
                    <a16:creationId xmlns:a16="http://schemas.microsoft.com/office/drawing/2014/main" id="{6A20038F-05AC-4F4A-BC21-93BC3F898785}"/>
                  </a:ext>
                </a:extLst>
              </p:cNvPr>
              <p:cNvSpPr/>
              <p:nvPr/>
            </p:nvSpPr>
            <p:spPr>
              <a:xfrm rot="-1917689">
                <a:off x="5673228" y="1831202"/>
                <a:ext cx="138556" cy="290473"/>
              </a:xfrm>
              <a:custGeom>
                <a:avLst/>
                <a:gdLst>
                  <a:gd name="connsiteX0" fmla="*/ 59983 w 138556"/>
                  <a:gd name="connsiteY0" fmla="*/ 134017 h 290473"/>
                  <a:gd name="connsiteX1" fmla="*/ 72412 w 138556"/>
                  <a:gd name="connsiteY1" fmla="*/ 103962 h 290473"/>
                  <a:gd name="connsiteX2" fmla="*/ 28483 w 138556"/>
                  <a:gd name="connsiteY2" fmla="*/ -108 h 290473"/>
                  <a:gd name="connsiteX3" fmla="*/ -45 w 138556"/>
                  <a:gd name="connsiteY3" fmla="*/ 33501 h 290473"/>
                  <a:gd name="connsiteX4" fmla="*/ 15046 w 138556"/>
                  <a:gd name="connsiteY4" fmla="*/ 63838 h 290473"/>
                  <a:gd name="connsiteX5" fmla="*/ 28509 w 138556"/>
                  <a:gd name="connsiteY5" fmla="*/ 48309 h 290473"/>
                  <a:gd name="connsiteX6" fmla="*/ 15925 w 138556"/>
                  <a:gd name="connsiteY6" fmla="*/ 67856 h 290473"/>
                  <a:gd name="connsiteX7" fmla="*/ 115411 w 138556"/>
                  <a:gd name="connsiteY7" fmla="*/ 290366 h 290473"/>
                  <a:gd name="connsiteX8" fmla="*/ 138512 w 138556"/>
                  <a:gd name="connsiteY8" fmla="*/ 270613 h 290473"/>
                  <a:gd name="connsiteX9" fmla="*/ 74143 w 138556"/>
                  <a:gd name="connsiteY9" fmla="*/ 111997 h 290473"/>
                  <a:gd name="connsiteX10" fmla="*/ 59983 w 138556"/>
                  <a:gd name="connsiteY10" fmla="*/ 134017 h 29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556" h="290473">
                    <a:moveTo>
                      <a:pt x="59983" y="134017"/>
                    </a:moveTo>
                    <a:cubicBezTo>
                      <a:pt x="58820" y="125132"/>
                      <a:pt x="64376" y="114856"/>
                      <a:pt x="72412" y="103962"/>
                    </a:cubicBezTo>
                    <a:cubicBezTo>
                      <a:pt x="58872" y="68989"/>
                      <a:pt x="43781" y="34428"/>
                      <a:pt x="28483" y="-108"/>
                    </a:cubicBezTo>
                    <a:cubicBezTo>
                      <a:pt x="18121" y="7335"/>
                      <a:pt x="8612" y="18435"/>
                      <a:pt x="-45" y="33501"/>
                    </a:cubicBezTo>
                    <a:cubicBezTo>
                      <a:pt x="6700" y="43184"/>
                      <a:pt x="8224" y="54104"/>
                      <a:pt x="15046" y="63838"/>
                    </a:cubicBezTo>
                    <a:cubicBezTo>
                      <a:pt x="19749" y="59718"/>
                      <a:pt x="22385" y="45811"/>
                      <a:pt x="28509" y="48309"/>
                    </a:cubicBezTo>
                    <a:cubicBezTo>
                      <a:pt x="24323" y="54799"/>
                      <a:pt x="20111" y="61366"/>
                      <a:pt x="15925" y="67856"/>
                    </a:cubicBezTo>
                    <a:cubicBezTo>
                      <a:pt x="49828" y="141897"/>
                      <a:pt x="77425" y="217303"/>
                      <a:pt x="115411" y="290366"/>
                    </a:cubicBezTo>
                    <a:cubicBezTo>
                      <a:pt x="122698" y="281893"/>
                      <a:pt x="131819" y="281687"/>
                      <a:pt x="138512" y="270613"/>
                    </a:cubicBezTo>
                    <a:cubicBezTo>
                      <a:pt x="120475" y="216994"/>
                      <a:pt x="99054" y="164122"/>
                      <a:pt x="74143" y="111997"/>
                    </a:cubicBezTo>
                    <a:cubicBezTo>
                      <a:pt x="66546" y="118745"/>
                      <a:pt x="70991" y="133579"/>
                      <a:pt x="59983" y="134017"/>
                    </a:cubicBezTo>
                    <a:close/>
                  </a:path>
                </a:pathLst>
              </a:custGeom>
              <a:grpFill/>
              <a:ln w="25598" cap="flat">
                <a:noFill/>
                <a:prstDash val="solid"/>
                <a:round/>
              </a:ln>
            </p:spPr>
            <p:txBody>
              <a:bodyPr rtlCol="0" anchor="ctr"/>
              <a:lstStyle/>
              <a:p>
                <a:endParaRPr lang="en-LT"/>
              </a:p>
            </p:txBody>
          </p:sp>
          <p:sp>
            <p:nvSpPr>
              <p:cNvPr id="77" name="Freeform 76">
                <a:extLst>
                  <a:ext uri="{FF2B5EF4-FFF2-40B4-BE49-F238E27FC236}">
                    <a16:creationId xmlns:a16="http://schemas.microsoft.com/office/drawing/2014/main" id="{C5FE8262-FB37-7346-9B22-24FB75B04A6F}"/>
                  </a:ext>
                </a:extLst>
              </p:cNvPr>
              <p:cNvSpPr/>
              <p:nvPr/>
            </p:nvSpPr>
            <p:spPr>
              <a:xfrm rot="-1917689">
                <a:off x="5637861" y="1895610"/>
                <a:ext cx="163883" cy="281205"/>
              </a:xfrm>
              <a:custGeom>
                <a:avLst/>
                <a:gdLst>
                  <a:gd name="connsiteX0" fmla="*/ 33578 w 163883"/>
                  <a:gd name="connsiteY0" fmla="*/ 171283 h 281205"/>
                  <a:gd name="connsiteX1" fmla="*/ 59005 w 163883"/>
                  <a:gd name="connsiteY1" fmla="*/ 228971 h 281205"/>
                  <a:gd name="connsiteX2" fmla="*/ 59884 w 163883"/>
                  <a:gd name="connsiteY2" fmla="*/ 233014 h 281205"/>
                  <a:gd name="connsiteX3" fmla="*/ 32958 w 163883"/>
                  <a:gd name="connsiteY3" fmla="*/ 177747 h 281205"/>
                  <a:gd name="connsiteX4" fmla="*/ 33578 w 163883"/>
                  <a:gd name="connsiteY4" fmla="*/ 171283 h 281205"/>
                  <a:gd name="connsiteX5" fmla="*/ 114536 w 163883"/>
                  <a:gd name="connsiteY5" fmla="*/ 212617 h 281205"/>
                  <a:gd name="connsiteX6" fmla="*/ 99316 w 163883"/>
                  <a:gd name="connsiteY6" fmla="*/ 220189 h 281205"/>
                  <a:gd name="connsiteX7" fmla="*/ 114536 w 163883"/>
                  <a:gd name="connsiteY7" fmla="*/ 212617 h 281205"/>
                  <a:gd name="connsiteX8" fmla="*/ 163840 w 163883"/>
                  <a:gd name="connsiteY8" fmla="*/ 254518 h 281205"/>
                  <a:gd name="connsiteX9" fmla="*/ 57325 w 163883"/>
                  <a:gd name="connsiteY9" fmla="*/ -107 h 281205"/>
                  <a:gd name="connsiteX10" fmla="*/ 14792 w 163883"/>
                  <a:gd name="connsiteY10" fmla="*/ 249058 h 281205"/>
                  <a:gd name="connsiteX11" fmla="*/ 163840 w 163883"/>
                  <a:gd name="connsiteY11" fmla="*/ 254518 h 2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883" h="281205">
                    <a:moveTo>
                      <a:pt x="33578" y="171283"/>
                    </a:moveTo>
                    <a:cubicBezTo>
                      <a:pt x="39030" y="191216"/>
                      <a:pt x="42932" y="211433"/>
                      <a:pt x="59005" y="228971"/>
                    </a:cubicBezTo>
                    <a:cubicBezTo>
                      <a:pt x="63760" y="231057"/>
                      <a:pt x="62494" y="234508"/>
                      <a:pt x="59884" y="233014"/>
                    </a:cubicBezTo>
                    <a:cubicBezTo>
                      <a:pt x="40994" y="216712"/>
                      <a:pt x="34508" y="197809"/>
                      <a:pt x="32958" y="177747"/>
                    </a:cubicBezTo>
                    <a:cubicBezTo>
                      <a:pt x="30581" y="176202"/>
                      <a:pt x="32984" y="173601"/>
                      <a:pt x="33578" y="171283"/>
                    </a:cubicBezTo>
                    <a:close/>
                    <a:moveTo>
                      <a:pt x="114536" y="212617"/>
                    </a:moveTo>
                    <a:cubicBezTo>
                      <a:pt x="110738" y="221090"/>
                      <a:pt x="103735" y="214883"/>
                      <a:pt x="99316" y="220189"/>
                    </a:cubicBezTo>
                    <a:cubicBezTo>
                      <a:pt x="95569" y="214729"/>
                      <a:pt x="108877" y="207029"/>
                      <a:pt x="114536" y="212617"/>
                    </a:cubicBezTo>
                    <a:close/>
                    <a:moveTo>
                      <a:pt x="163840" y="254518"/>
                    </a:moveTo>
                    <a:cubicBezTo>
                      <a:pt x="133684" y="168450"/>
                      <a:pt x="91719" y="84983"/>
                      <a:pt x="57325" y="-107"/>
                    </a:cubicBezTo>
                    <a:cubicBezTo>
                      <a:pt x="2259" y="52070"/>
                      <a:pt x="-15855" y="210660"/>
                      <a:pt x="14792" y="249058"/>
                    </a:cubicBezTo>
                    <a:cubicBezTo>
                      <a:pt x="56990" y="302059"/>
                      <a:pt x="120531" y="278675"/>
                      <a:pt x="163840" y="254518"/>
                    </a:cubicBezTo>
                    <a:close/>
                  </a:path>
                </a:pathLst>
              </a:custGeom>
              <a:grpFill/>
              <a:ln w="25598" cap="flat">
                <a:noFill/>
                <a:prstDash val="solid"/>
                <a:round/>
              </a:ln>
            </p:spPr>
            <p:txBody>
              <a:bodyPr rtlCol="0" anchor="ctr"/>
              <a:lstStyle/>
              <a:p>
                <a:endParaRPr lang="en-LT"/>
              </a:p>
            </p:txBody>
          </p:sp>
          <p:sp>
            <p:nvSpPr>
              <p:cNvPr id="78" name="Freeform 77">
                <a:extLst>
                  <a:ext uri="{FF2B5EF4-FFF2-40B4-BE49-F238E27FC236}">
                    <a16:creationId xmlns:a16="http://schemas.microsoft.com/office/drawing/2014/main" id="{FFFBC84A-F02F-C54A-96B3-76ED9BDD5762}"/>
                  </a:ext>
                </a:extLst>
              </p:cNvPr>
              <p:cNvSpPr/>
              <p:nvPr/>
            </p:nvSpPr>
            <p:spPr>
              <a:xfrm rot="-1917689">
                <a:off x="5622252" y="2299690"/>
                <a:ext cx="34186" cy="45750"/>
              </a:xfrm>
              <a:custGeom>
                <a:avLst/>
                <a:gdLst>
                  <a:gd name="connsiteX0" fmla="*/ 34149 w 34186"/>
                  <a:gd name="connsiteY0" fmla="*/ 13146 h 45750"/>
                  <a:gd name="connsiteX1" fmla="*/ -38 w 34186"/>
                  <a:gd name="connsiteY1" fmla="*/ 1660 h 45750"/>
                  <a:gd name="connsiteX2" fmla="*/ 20169 w 34186"/>
                  <a:gd name="connsiteY2" fmla="*/ 45647 h 45750"/>
                  <a:gd name="connsiteX3" fmla="*/ 34149 w 34186"/>
                  <a:gd name="connsiteY3" fmla="*/ 13146 h 45750"/>
                </a:gdLst>
                <a:ahLst/>
                <a:cxnLst>
                  <a:cxn ang="0">
                    <a:pos x="connsiteX0" y="connsiteY0"/>
                  </a:cxn>
                  <a:cxn ang="0">
                    <a:pos x="connsiteX1" y="connsiteY1"/>
                  </a:cxn>
                  <a:cxn ang="0">
                    <a:pos x="connsiteX2" y="connsiteY2"/>
                  </a:cxn>
                  <a:cxn ang="0">
                    <a:pos x="connsiteX3" y="connsiteY3"/>
                  </a:cxn>
                </a:cxnLst>
                <a:rect l="l" t="t" r="r" b="b"/>
                <a:pathLst>
                  <a:path w="34186" h="45750">
                    <a:moveTo>
                      <a:pt x="34149" y="13146"/>
                    </a:moveTo>
                    <a:cubicBezTo>
                      <a:pt x="22443" y="7789"/>
                      <a:pt x="9109" y="-4701"/>
                      <a:pt x="-38" y="1660"/>
                    </a:cubicBezTo>
                    <a:cubicBezTo>
                      <a:pt x="10169" y="15567"/>
                      <a:pt x="11125" y="31534"/>
                      <a:pt x="20169" y="45647"/>
                    </a:cubicBezTo>
                    <a:cubicBezTo>
                      <a:pt x="26836" y="34367"/>
                      <a:pt x="31668" y="23473"/>
                      <a:pt x="34149" y="13146"/>
                    </a:cubicBezTo>
                    <a:close/>
                  </a:path>
                </a:pathLst>
              </a:custGeom>
              <a:grpFill/>
              <a:ln w="25598" cap="flat">
                <a:noFill/>
                <a:prstDash val="solid"/>
                <a:round/>
              </a:ln>
            </p:spPr>
            <p:txBody>
              <a:bodyPr rtlCol="0" anchor="ctr"/>
              <a:lstStyle/>
              <a:p>
                <a:endParaRPr lang="en-LT"/>
              </a:p>
            </p:txBody>
          </p:sp>
          <p:sp>
            <p:nvSpPr>
              <p:cNvPr id="79" name="Freeform 78">
                <a:extLst>
                  <a:ext uri="{FF2B5EF4-FFF2-40B4-BE49-F238E27FC236}">
                    <a16:creationId xmlns:a16="http://schemas.microsoft.com/office/drawing/2014/main" id="{49EF12D5-9CD8-3147-A1C6-4CEFA5C44815}"/>
                  </a:ext>
                </a:extLst>
              </p:cNvPr>
              <p:cNvSpPr/>
              <p:nvPr/>
            </p:nvSpPr>
            <p:spPr>
              <a:xfrm rot="-1917689">
                <a:off x="5598406" y="2289163"/>
                <a:ext cx="41249" cy="96910"/>
              </a:xfrm>
              <a:custGeom>
                <a:avLst/>
                <a:gdLst>
                  <a:gd name="connsiteX0" fmla="*/ -38 w 41249"/>
                  <a:gd name="connsiteY0" fmla="*/ -103 h 96910"/>
                  <a:gd name="connsiteX1" fmla="*/ 38103 w 41249"/>
                  <a:gd name="connsiteY1" fmla="*/ 96807 h 96910"/>
                  <a:gd name="connsiteX2" fmla="*/ -38 w 41249"/>
                  <a:gd name="connsiteY2" fmla="*/ -103 h 96910"/>
                </a:gdLst>
                <a:ahLst/>
                <a:cxnLst>
                  <a:cxn ang="0">
                    <a:pos x="connsiteX0" y="connsiteY0"/>
                  </a:cxn>
                  <a:cxn ang="0">
                    <a:pos x="connsiteX1" y="connsiteY1"/>
                  </a:cxn>
                  <a:cxn ang="0">
                    <a:pos x="connsiteX2" y="connsiteY2"/>
                  </a:cxn>
                </a:cxnLst>
                <a:rect l="l" t="t" r="r" b="b"/>
                <a:pathLst>
                  <a:path w="41249" h="96910">
                    <a:moveTo>
                      <a:pt x="-38" y="-103"/>
                    </a:moveTo>
                    <a:cubicBezTo>
                      <a:pt x="7404" y="33325"/>
                      <a:pt x="22934" y="65028"/>
                      <a:pt x="38103" y="96807"/>
                    </a:cubicBezTo>
                    <a:cubicBezTo>
                      <a:pt x="48103" y="59542"/>
                      <a:pt x="33606" y="27634"/>
                      <a:pt x="-38" y="-103"/>
                    </a:cubicBezTo>
                    <a:close/>
                  </a:path>
                </a:pathLst>
              </a:custGeom>
              <a:grpFill/>
              <a:ln w="25598" cap="flat">
                <a:noFill/>
                <a:prstDash val="solid"/>
                <a:round/>
              </a:ln>
            </p:spPr>
            <p:txBody>
              <a:bodyPr rtlCol="0" anchor="ctr"/>
              <a:lstStyle/>
              <a:p>
                <a:endParaRPr lang="en-LT"/>
              </a:p>
            </p:txBody>
          </p:sp>
          <p:sp>
            <p:nvSpPr>
              <p:cNvPr id="80" name="Freeform 79">
                <a:extLst>
                  <a:ext uri="{FF2B5EF4-FFF2-40B4-BE49-F238E27FC236}">
                    <a16:creationId xmlns:a16="http://schemas.microsoft.com/office/drawing/2014/main" id="{0B54B593-2492-9E4C-925C-F9A53B404F2A}"/>
                  </a:ext>
                </a:extLst>
              </p:cNvPr>
              <p:cNvSpPr/>
              <p:nvPr/>
            </p:nvSpPr>
            <p:spPr>
              <a:xfrm rot="-1917689">
                <a:off x="5583680" y="2288598"/>
                <a:ext cx="58657" cy="140407"/>
              </a:xfrm>
              <a:custGeom>
                <a:avLst/>
                <a:gdLst>
                  <a:gd name="connsiteX0" fmla="*/ 50067 w 58657"/>
                  <a:gd name="connsiteY0" fmla="*/ 140305 h 140407"/>
                  <a:gd name="connsiteX1" fmla="*/ 58620 w 58657"/>
                  <a:gd name="connsiteY1" fmla="*/ 121608 h 140407"/>
                  <a:gd name="connsiteX2" fmla="*/ 8696 w 58657"/>
                  <a:gd name="connsiteY2" fmla="*/ -103 h 140407"/>
                  <a:gd name="connsiteX3" fmla="*/ -38 w 58657"/>
                  <a:gd name="connsiteY3" fmla="*/ 8087 h 140407"/>
                  <a:gd name="connsiteX4" fmla="*/ 50067 w 58657"/>
                  <a:gd name="connsiteY4" fmla="*/ 140305 h 14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7" h="140407">
                    <a:moveTo>
                      <a:pt x="50067" y="140305"/>
                    </a:moveTo>
                    <a:cubicBezTo>
                      <a:pt x="52987" y="134099"/>
                      <a:pt x="52134" y="128639"/>
                      <a:pt x="58620" y="121608"/>
                    </a:cubicBezTo>
                    <a:cubicBezTo>
                      <a:pt x="42082" y="81021"/>
                      <a:pt x="28749" y="39712"/>
                      <a:pt x="8696" y="-103"/>
                    </a:cubicBezTo>
                    <a:cubicBezTo>
                      <a:pt x="5802" y="2653"/>
                      <a:pt x="2236" y="2318"/>
                      <a:pt x="-38" y="8087"/>
                    </a:cubicBezTo>
                    <a:cubicBezTo>
                      <a:pt x="13193" y="52949"/>
                      <a:pt x="34692" y="95906"/>
                      <a:pt x="50067" y="140305"/>
                    </a:cubicBezTo>
                    <a:close/>
                  </a:path>
                </a:pathLst>
              </a:custGeom>
              <a:grpFill/>
              <a:ln w="25598" cap="flat">
                <a:noFill/>
                <a:prstDash val="solid"/>
                <a:round/>
              </a:ln>
            </p:spPr>
            <p:txBody>
              <a:bodyPr rtlCol="0" anchor="ctr"/>
              <a:lstStyle/>
              <a:p>
                <a:endParaRPr lang="en-LT"/>
              </a:p>
            </p:txBody>
          </p:sp>
          <p:sp>
            <p:nvSpPr>
              <p:cNvPr id="81" name="Freeform 80">
                <a:extLst>
                  <a:ext uri="{FF2B5EF4-FFF2-40B4-BE49-F238E27FC236}">
                    <a16:creationId xmlns:a16="http://schemas.microsoft.com/office/drawing/2014/main" id="{18AFBF8C-124C-F24E-A396-F4D57881A33D}"/>
                  </a:ext>
                </a:extLst>
              </p:cNvPr>
              <p:cNvSpPr/>
              <p:nvPr/>
            </p:nvSpPr>
            <p:spPr>
              <a:xfrm rot="-1917689">
                <a:off x="5715833" y="2310043"/>
                <a:ext cx="70828" cy="68150"/>
              </a:xfrm>
              <a:custGeom>
                <a:avLst/>
                <a:gdLst>
                  <a:gd name="connsiteX0" fmla="*/ 35494 w 70828"/>
                  <a:gd name="connsiteY0" fmla="*/ -106 h 68150"/>
                  <a:gd name="connsiteX1" fmla="*/ -37 w 70828"/>
                  <a:gd name="connsiteY1" fmla="*/ 49702 h 68150"/>
                  <a:gd name="connsiteX2" fmla="*/ 58569 w 70828"/>
                  <a:gd name="connsiteY2" fmla="*/ 66441 h 68150"/>
                  <a:gd name="connsiteX3" fmla="*/ 70792 w 70828"/>
                  <a:gd name="connsiteY3" fmla="*/ 25931 h 68150"/>
                  <a:gd name="connsiteX4" fmla="*/ 35494 w 70828"/>
                  <a:gd name="connsiteY4" fmla="*/ -106 h 6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28" h="68150">
                    <a:moveTo>
                      <a:pt x="35494" y="-106"/>
                    </a:moveTo>
                    <a:cubicBezTo>
                      <a:pt x="23245" y="13389"/>
                      <a:pt x="4666" y="32292"/>
                      <a:pt x="-37" y="49702"/>
                    </a:cubicBezTo>
                    <a:cubicBezTo>
                      <a:pt x="12651" y="57428"/>
                      <a:pt x="42316" y="73086"/>
                      <a:pt x="58569" y="66441"/>
                    </a:cubicBezTo>
                    <a:cubicBezTo>
                      <a:pt x="63014" y="52818"/>
                      <a:pt x="68854" y="38937"/>
                      <a:pt x="70792" y="25931"/>
                    </a:cubicBezTo>
                    <a:cubicBezTo>
                      <a:pt x="65055" y="16634"/>
                      <a:pt x="49602" y="616"/>
                      <a:pt x="35494" y="-106"/>
                    </a:cubicBezTo>
                    <a:close/>
                  </a:path>
                </a:pathLst>
              </a:custGeom>
              <a:grpFill/>
              <a:ln w="25598" cap="flat">
                <a:noFill/>
                <a:prstDash val="solid"/>
                <a:round/>
              </a:ln>
            </p:spPr>
            <p:txBody>
              <a:bodyPr rtlCol="0" anchor="ctr"/>
              <a:lstStyle/>
              <a:p>
                <a:endParaRPr lang="en-LT"/>
              </a:p>
            </p:txBody>
          </p:sp>
          <p:sp>
            <p:nvSpPr>
              <p:cNvPr id="82" name="Freeform 81">
                <a:extLst>
                  <a:ext uri="{FF2B5EF4-FFF2-40B4-BE49-F238E27FC236}">
                    <a16:creationId xmlns:a16="http://schemas.microsoft.com/office/drawing/2014/main" id="{E74D46CD-708C-444A-B79B-D6A70038EAFE}"/>
                  </a:ext>
                </a:extLst>
              </p:cNvPr>
              <p:cNvSpPr/>
              <p:nvPr/>
            </p:nvSpPr>
            <p:spPr>
              <a:xfrm rot="-1917689">
                <a:off x="5556386" y="2306445"/>
                <a:ext cx="89847" cy="172863"/>
              </a:xfrm>
              <a:custGeom>
                <a:avLst/>
                <a:gdLst>
                  <a:gd name="connsiteX0" fmla="*/ 34718 w 89847"/>
                  <a:gd name="connsiteY0" fmla="*/ 47754 h 172863"/>
                  <a:gd name="connsiteX1" fmla="*/ 47897 w 89847"/>
                  <a:gd name="connsiteY1" fmla="*/ 59601 h 172863"/>
                  <a:gd name="connsiteX2" fmla="*/ 34718 w 89847"/>
                  <a:gd name="connsiteY2" fmla="*/ 47754 h 172863"/>
                  <a:gd name="connsiteX3" fmla="*/ -37 w 89847"/>
                  <a:gd name="connsiteY3" fmla="*/ 4771 h 172863"/>
                  <a:gd name="connsiteX4" fmla="*/ 78983 w 89847"/>
                  <a:gd name="connsiteY4" fmla="*/ 172761 h 172863"/>
                  <a:gd name="connsiteX5" fmla="*/ 89810 w 89847"/>
                  <a:gd name="connsiteY5" fmla="*/ 145153 h 172863"/>
                  <a:gd name="connsiteX6" fmla="*/ 30584 w 89847"/>
                  <a:gd name="connsiteY6" fmla="*/ 187 h 172863"/>
                  <a:gd name="connsiteX7" fmla="*/ -37 w 89847"/>
                  <a:gd name="connsiteY7" fmla="*/ 4771 h 17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47" h="172863">
                    <a:moveTo>
                      <a:pt x="34718" y="47754"/>
                    </a:moveTo>
                    <a:cubicBezTo>
                      <a:pt x="43272" y="45642"/>
                      <a:pt x="45882" y="54167"/>
                      <a:pt x="47897" y="59601"/>
                    </a:cubicBezTo>
                    <a:cubicBezTo>
                      <a:pt x="45339" y="63283"/>
                      <a:pt x="26140" y="53265"/>
                      <a:pt x="34718" y="47754"/>
                    </a:cubicBezTo>
                    <a:close/>
                    <a:moveTo>
                      <a:pt x="-37" y="4771"/>
                    </a:moveTo>
                    <a:cubicBezTo>
                      <a:pt x="28439" y="60296"/>
                      <a:pt x="52419" y="116799"/>
                      <a:pt x="78983" y="172761"/>
                    </a:cubicBezTo>
                    <a:cubicBezTo>
                      <a:pt x="86167" y="162820"/>
                      <a:pt x="85392" y="154554"/>
                      <a:pt x="89810" y="145153"/>
                    </a:cubicBezTo>
                    <a:cubicBezTo>
                      <a:pt x="68983" y="97072"/>
                      <a:pt x="55830" y="47342"/>
                      <a:pt x="30584" y="187"/>
                    </a:cubicBezTo>
                    <a:cubicBezTo>
                      <a:pt x="20868" y="4076"/>
                      <a:pt x="8284" y="-5350"/>
                      <a:pt x="-37" y="4771"/>
                    </a:cubicBezTo>
                    <a:close/>
                  </a:path>
                </a:pathLst>
              </a:custGeom>
              <a:grpFill/>
              <a:ln w="25598" cap="flat">
                <a:noFill/>
                <a:prstDash val="solid"/>
                <a:round/>
              </a:ln>
            </p:spPr>
            <p:txBody>
              <a:bodyPr rtlCol="0" anchor="ctr"/>
              <a:lstStyle/>
              <a:p>
                <a:endParaRPr lang="en-LT"/>
              </a:p>
            </p:txBody>
          </p:sp>
          <p:sp>
            <p:nvSpPr>
              <p:cNvPr id="83" name="Freeform 82">
                <a:extLst>
                  <a:ext uri="{FF2B5EF4-FFF2-40B4-BE49-F238E27FC236}">
                    <a16:creationId xmlns:a16="http://schemas.microsoft.com/office/drawing/2014/main" id="{DE5E1B23-06AC-FF4C-94A4-9301B102B878}"/>
                  </a:ext>
                </a:extLst>
              </p:cNvPr>
              <p:cNvSpPr/>
              <p:nvPr/>
            </p:nvSpPr>
            <p:spPr>
              <a:xfrm rot="-1917689">
                <a:off x="5751954" y="2396151"/>
                <a:ext cx="22043" cy="49781"/>
              </a:xfrm>
              <a:custGeom>
                <a:avLst/>
                <a:gdLst>
                  <a:gd name="connsiteX0" fmla="*/ 22008 w 22043"/>
                  <a:gd name="connsiteY0" fmla="*/ 20472 h 49781"/>
                  <a:gd name="connsiteX1" fmla="*/ 587 w 22043"/>
                  <a:gd name="connsiteY1" fmla="*/ -105 h 49781"/>
                  <a:gd name="connsiteX2" fmla="*/ 13610 w 22043"/>
                  <a:gd name="connsiteY2" fmla="*/ 49676 h 49781"/>
                  <a:gd name="connsiteX3" fmla="*/ 22008 w 22043"/>
                  <a:gd name="connsiteY3" fmla="*/ 20472 h 49781"/>
                </a:gdLst>
                <a:ahLst/>
                <a:cxnLst>
                  <a:cxn ang="0">
                    <a:pos x="connsiteX0" y="connsiteY0"/>
                  </a:cxn>
                  <a:cxn ang="0">
                    <a:pos x="connsiteX1" y="connsiteY1"/>
                  </a:cxn>
                  <a:cxn ang="0">
                    <a:pos x="connsiteX2" y="connsiteY2"/>
                  </a:cxn>
                  <a:cxn ang="0">
                    <a:pos x="connsiteX3" y="connsiteY3"/>
                  </a:cxn>
                </a:cxnLst>
                <a:rect l="l" t="t" r="r" b="b"/>
                <a:pathLst>
                  <a:path w="22043" h="49781">
                    <a:moveTo>
                      <a:pt x="22008" y="20472"/>
                    </a:moveTo>
                    <a:cubicBezTo>
                      <a:pt x="13843" y="13801"/>
                      <a:pt x="13042" y="5586"/>
                      <a:pt x="587" y="-105"/>
                    </a:cubicBezTo>
                    <a:cubicBezTo>
                      <a:pt x="-2979" y="18231"/>
                      <a:pt x="9786" y="32936"/>
                      <a:pt x="13610" y="49676"/>
                    </a:cubicBezTo>
                    <a:cubicBezTo>
                      <a:pt x="20561" y="39040"/>
                      <a:pt x="16117" y="30876"/>
                      <a:pt x="22008" y="20472"/>
                    </a:cubicBezTo>
                    <a:close/>
                  </a:path>
                </a:pathLst>
              </a:custGeom>
              <a:grpFill/>
              <a:ln w="25598" cap="flat">
                <a:noFill/>
                <a:prstDash val="solid"/>
                <a:round/>
              </a:ln>
            </p:spPr>
            <p:txBody>
              <a:bodyPr rtlCol="0" anchor="ctr"/>
              <a:lstStyle/>
              <a:p>
                <a:endParaRPr lang="en-LT"/>
              </a:p>
            </p:txBody>
          </p:sp>
          <p:sp>
            <p:nvSpPr>
              <p:cNvPr id="84" name="Freeform 83">
                <a:extLst>
                  <a:ext uri="{FF2B5EF4-FFF2-40B4-BE49-F238E27FC236}">
                    <a16:creationId xmlns:a16="http://schemas.microsoft.com/office/drawing/2014/main" id="{ACA84FEB-7E14-624A-A8A2-41CECC25D198}"/>
                  </a:ext>
                </a:extLst>
              </p:cNvPr>
              <p:cNvSpPr/>
              <p:nvPr/>
            </p:nvSpPr>
            <p:spPr>
              <a:xfrm rot="-1917689">
                <a:off x="5751957" y="2410671"/>
                <a:ext cx="19656" cy="63353"/>
              </a:xfrm>
              <a:custGeom>
                <a:avLst/>
                <a:gdLst>
                  <a:gd name="connsiteX0" fmla="*/ 19523 w 19656"/>
                  <a:gd name="connsiteY0" fmla="*/ 63248 h 63353"/>
                  <a:gd name="connsiteX1" fmla="*/ 1357 w 19656"/>
                  <a:gd name="connsiteY1" fmla="*/ -105 h 63353"/>
                  <a:gd name="connsiteX2" fmla="*/ 19523 w 19656"/>
                  <a:gd name="connsiteY2" fmla="*/ 63248 h 63353"/>
                </a:gdLst>
                <a:ahLst/>
                <a:cxnLst>
                  <a:cxn ang="0">
                    <a:pos x="connsiteX0" y="connsiteY0"/>
                  </a:cxn>
                  <a:cxn ang="0">
                    <a:pos x="connsiteX1" y="connsiteY1"/>
                  </a:cxn>
                  <a:cxn ang="0">
                    <a:pos x="connsiteX2" y="connsiteY2"/>
                  </a:cxn>
                </a:cxnLst>
                <a:rect l="l" t="t" r="r" b="b"/>
                <a:pathLst>
                  <a:path w="19656" h="63353">
                    <a:moveTo>
                      <a:pt x="19523" y="63248"/>
                    </a:moveTo>
                    <a:cubicBezTo>
                      <a:pt x="20738" y="40533"/>
                      <a:pt x="10402" y="20343"/>
                      <a:pt x="1357" y="-105"/>
                    </a:cubicBezTo>
                    <a:cubicBezTo>
                      <a:pt x="-4922" y="23665"/>
                      <a:pt x="11616" y="42568"/>
                      <a:pt x="19523" y="63248"/>
                    </a:cubicBezTo>
                    <a:close/>
                  </a:path>
                </a:pathLst>
              </a:custGeom>
              <a:grpFill/>
              <a:ln w="25598" cap="flat">
                <a:noFill/>
                <a:prstDash val="solid"/>
                <a:round/>
              </a:ln>
            </p:spPr>
            <p:txBody>
              <a:bodyPr rtlCol="0" anchor="ctr"/>
              <a:lstStyle/>
              <a:p>
                <a:endParaRPr lang="en-LT"/>
              </a:p>
            </p:txBody>
          </p:sp>
          <p:sp>
            <p:nvSpPr>
              <p:cNvPr id="85" name="Freeform 84">
                <a:extLst>
                  <a:ext uri="{FF2B5EF4-FFF2-40B4-BE49-F238E27FC236}">
                    <a16:creationId xmlns:a16="http://schemas.microsoft.com/office/drawing/2014/main" id="{06786F40-0FAC-FC40-86EB-B4A288CF5960}"/>
                  </a:ext>
                </a:extLst>
              </p:cNvPr>
              <p:cNvSpPr/>
              <p:nvPr/>
            </p:nvSpPr>
            <p:spPr>
              <a:xfrm rot="-1917689">
                <a:off x="5746692" y="2429871"/>
                <a:ext cx="35126" cy="90909"/>
              </a:xfrm>
              <a:custGeom>
                <a:avLst/>
                <a:gdLst>
                  <a:gd name="connsiteX0" fmla="*/ 10974 w 35126"/>
                  <a:gd name="connsiteY0" fmla="*/ -105 h 90909"/>
                  <a:gd name="connsiteX1" fmla="*/ -34 w 35126"/>
                  <a:gd name="connsiteY1" fmla="*/ 17047 h 90909"/>
                  <a:gd name="connsiteX2" fmla="*/ 28830 w 35126"/>
                  <a:gd name="connsiteY2" fmla="*/ 90805 h 90909"/>
                  <a:gd name="connsiteX3" fmla="*/ 10974 w 35126"/>
                  <a:gd name="connsiteY3" fmla="*/ -105 h 90909"/>
                </a:gdLst>
                <a:ahLst/>
                <a:cxnLst>
                  <a:cxn ang="0">
                    <a:pos x="connsiteX0" y="connsiteY0"/>
                  </a:cxn>
                  <a:cxn ang="0">
                    <a:pos x="connsiteX1" y="connsiteY1"/>
                  </a:cxn>
                  <a:cxn ang="0">
                    <a:pos x="connsiteX2" y="connsiteY2"/>
                  </a:cxn>
                  <a:cxn ang="0">
                    <a:pos x="connsiteX3" y="connsiteY3"/>
                  </a:cxn>
                </a:cxnLst>
                <a:rect l="l" t="t" r="r" b="b"/>
                <a:pathLst>
                  <a:path w="35126" h="90909">
                    <a:moveTo>
                      <a:pt x="10974" y="-105"/>
                    </a:moveTo>
                    <a:cubicBezTo>
                      <a:pt x="7330" y="5612"/>
                      <a:pt x="3661" y="11355"/>
                      <a:pt x="-34" y="17047"/>
                    </a:cubicBezTo>
                    <a:cubicBezTo>
                      <a:pt x="12421" y="41023"/>
                      <a:pt x="15987" y="66931"/>
                      <a:pt x="28830" y="90805"/>
                    </a:cubicBezTo>
                    <a:cubicBezTo>
                      <a:pt x="46970" y="55265"/>
                      <a:pt x="20922" y="29383"/>
                      <a:pt x="10974" y="-105"/>
                    </a:cubicBezTo>
                    <a:close/>
                  </a:path>
                </a:pathLst>
              </a:custGeom>
              <a:grpFill/>
              <a:ln w="25598" cap="flat">
                <a:noFill/>
                <a:prstDash val="solid"/>
                <a:round/>
              </a:ln>
            </p:spPr>
            <p:txBody>
              <a:bodyPr rtlCol="0" anchor="ctr"/>
              <a:lstStyle/>
              <a:p>
                <a:endParaRPr lang="en-LT"/>
              </a:p>
            </p:txBody>
          </p:sp>
          <p:sp>
            <p:nvSpPr>
              <p:cNvPr id="86" name="Freeform 85">
                <a:extLst>
                  <a:ext uri="{FF2B5EF4-FFF2-40B4-BE49-F238E27FC236}">
                    <a16:creationId xmlns:a16="http://schemas.microsoft.com/office/drawing/2014/main" id="{0816F0C3-29BD-6D4D-BA77-6A32315444FB}"/>
                  </a:ext>
                </a:extLst>
              </p:cNvPr>
              <p:cNvSpPr/>
              <p:nvPr/>
            </p:nvSpPr>
            <p:spPr>
              <a:xfrm rot="-1917689">
                <a:off x="5743303" y="2458407"/>
                <a:ext cx="37823" cy="94051"/>
              </a:xfrm>
              <a:custGeom>
                <a:avLst/>
                <a:gdLst>
                  <a:gd name="connsiteX0" fmla="*/ 11905 w 37823"/>
                  <a:gd name="connsiteY0" fmla="*/ -105 h 94051"/>
                  <a:gd name="connsiteX1" fmla="*/ -34 w 37823"/>
                  <a:gd name="connsiteY1" fmla="*/ 13081 h 94051"/>
                  <a:gd name="connsiteX2" fmla="*/ 34644 w 37823"/>
                  <a:gd name="connsiteY2" fmla="*/ 93947 h 94051"/>
                  <a:gd name="connsiteX3" fmla="*/ 11905 w 37823"/>
                  <a:gd name="connsiteY3" fmla="*/ -105 h 94051"/>
                </a:gdLst>
                <a:ahLst/>
                <a:cxnLst>
                  <a:cxn ang="0">
                    <a:pos x="connsiteX0" y="connsiteY0"/>
                  </a:cxn>
                  <a:cxn ang="0">
                    <a:pos x="connsiteX1" y="connsiteY1"/>
                  </a:cxn>
                  <a:cxn ang="0">
                    <a:pos x="connsiteX2" y="connsiteY2"/>
                  </a:cxn>
                  <a:cxn ang="0">
                    <a:pos x="connsiteX3" y="connsiteY3"/>
                  </a:cxn>
                </a:cxnLst>
                <a:rect l="l" t="t" r="r" b="b"/>
                <a:pathLst>
                  <a:path w="37823" h="94051">
                    <a:moveTo>
                      <a:pt x="11905" y="-105"/>
                    </a:moveTo>
                    <a:cubicBezTo>
                      <a:pt x="8804" y="8548"/>
                      <a:pt x="3610" y="7286"/>
                      <a:pt x="-34" y="13081"/>
                    </a:cubicBezTo>
                    <a:cubicBezTo>
                      <a:pt x="12473" y="39839"/>
                      <a:pt x="20923" y="67472"/>
                      <a:pt x="34644" y="93947"/>
                    </a:cubicBezTo>
                    <a:cubicBezTo>
                      <a:pt x="46944" y="58278"/>
                      <a:pt x="19734" y="31237"/>
                      <a:pt x="11905" y="-105"/>
                    </a:cubicBezTo>
                    <a:close/>
                  </a:path>
                </a:pathLst>
              </a:custGeom>
              <a:grpFill/>
              <a:ln w="25598" cap="flat">
                <a:noFill/>
                <a:prstDash val="solid"/>
                <a:round/>
              </a:ln>
            </p:spPr>
            <p:txBody>
              <a:bodyPr rtlCol="0" anchor="ctr"/>
              <a:lstStyle/>
              <a:p>
                <a:endParaRPr lang="en-LT"/>
              </a:p>
            </p:txBody>
          </p:sp>
          <p:sp>
            <p:nvSpPr>
              <p:cNvPr id="87" name="Freeform 86">
                <a:extLst>
                  <a:ext uri="{FF2B5EF4-FFF2-40B4-BE49-F238E27FC236}">
                    <a16:creationId xmlns:a16="http://schemas.microsoft.com/office/drawing/2014/main" id="{8CB1E709-F96C-3048-8F61-4CB4D602F830}"/>
                  </a:ext>
                </a:extLst>
              </p:cNvPr>
              <p:cNvSpPr/>
              <p:nvPr/>
            </p:nvSpPr>
            <p:spPr>
              <a:xfrm rot="-1917689">
                <a:off x="5747722" y="2484533"/>
                <a:ext cx="35820" cy="95313"/>
              </a:xfrm>
              <a:custGeom>
                <a:avLst/>
                <a:gdLst>
                  <a:gd name="connsiteX0" fmla="*/ 35653 w 35820"/>
                  <a:gd name="connsiteY0" fmla="*/ 95209 h 95313"/>
                  <a:gd name="connsiteX1" fmla="*/ -33 w 35820"/>
                  <a:gd name="connsiteY1" fmla="*/ -105 h 95313"/>
                  <a:gd name="connsiteX2" fmla="*/ 35653 w 35820"/>
                  <a:gd name="connsiteY2" fmla="*/ 95209 h 95313"/>
                </a:gdLst>
                <a:ahLst/>
                <a:cxnLst>
                  <a:cxn ang="0">
                    <a:pos x="connsiteX0" y="connsiteY0"/>
                  </a:cxn>
                  <a:cxn ang="0">
                    <a:pos x="connsiteX1" y="connsiteY1"/>
                  </a:cxn>
                  <a:cxn ang="0">
                    <a:pos x="connsiteX2" y="connsiteY2"/>
                  </a:cxn>
                </a:cxnLst>
                <a:rect l="l" t="t" r="r" b="b"/>
                <a:pathLst>
                  <a:path w="35820" h="95313">
                    <a:moveTo>
                      <a:pt x="35653" y="95209"/>
                    </a:moveTo>
                    <a:cubicBezTo>
                      <a:pt x="37720" y="61703"/>
                      <a:pt x="15471" y="22584"/>
                      <a:pt x="-33" y="-105"/>
                    </a:cubicBezTo>
                    <a:cubicBezTo>
                      <a:pt x="2938" y="33581"/>
                      <a:pt x="24386" y="63326"/>
                      <a:pt x="35653" y="95209"/>
                    </a:cubicBezTo>
                    <a:close/>
                  </a:path>
                </a:pathLst>
              </a:custGeom>
              <a:grpFill/>
              <a:ln w="25598" cap="flat">
                <a:noFill/>
                <a:prstDash val="solid"/>
                <a:round/>
              </a:ln>
            </p:spPr>
            <p:txBody>
              <a:bodyPr rtlCol="0" anchor="ctr"/>
              <a:lstStyle/>
              <a:p>
                <a:endParaRPr lang="en-LT"/>
              </a:p>
            </p:txBody>
          </p:sp>
          <p:sp>
            <p:nvSpPr>
              <p:cNvPr id="88" name="Freeform 87">
                <a:extLst>
                  <a:ext uri="{FF2B5EF4-FFF2-40B4-BE49-F238E27FC236}">
                    <a16:creationId xmlns:a16="http://schemas.microsoft.com/office/drawing/2014/main" id="{3EF5049D-8551-DC4E-93EF-1CB62F2FFB7F}"/>
                  </a:ext>
                </a:extLst>
              </p:cNvPr>
              <p:cNvSpPr/>
              <p:nvPr/>
            </p:nvSpPr>
            <p:spPr>
              <a:xfrm rot="-1917689">
                <a:off x="5862367" y="2500713"/>
                <a:ext cx="61319" cy="150941"/>
              </a:xfrm>
              <a:custGeom>
                <a:avLst/>
                <a:gdLst>
                  <a:gd name="connsiteX0" fmla="*/ 51856 w 61319"/>
                  <a:gd name="connsiteY0" fmla="*/ 150834 h 150941"/>
                  <a:gd name="connsiteX1" fmla="*/ 61288 w 61319"/>
                  <a:gd name="connsiteY1" fmla="*/ 136181 h 150941"/>
                  <a:gd name="connsiteX2" fmla="*/ 10279 w 61319"/>
                  <a:gd name="connsiteY2" fmla="*/ -107 h 150941"/>
                  <a:gd name="connsiteX3" fmla="*/ -31 w 61319"/>
                  <a:gd name="connsiteY3" fmla="*/ 10581 h 150941"/>
                  <a:gd name="connsiteX4" fmla="*/ 39169 w 61319"/>
                  <a:gd name="connsiteY4" fmla="*/ 122042 h 150941"/>
                  <a:gd name="connsiteX5" fmla="*/ 51856 w 61319"/>
                  <a:gd name="connsiteY5" fmla="*/ 150834 h 1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19" h="150941">
                    <a:moveTo>
                      <a:pt x="51856" y="150834"/>
                    </a:moveTo>
                    <a:cubicBezTo>
                      <a:pt x="55009" y="145941"/>
                      <a:pt x="58135" y="141074"/>
                      <a:pt x="61288" y="136181"/>
                    </a:cubicBezTo>
                    <a:cubicBezTo>
                      <a:pt x="45241" y="91885"/>
                      <a:pt x="33380" y="35690"/>
                      <a:pt x="10279" y="-107"/>
                    </a:cubicBezTo>
                    <a:cubicBezTo>
                      <a:pt x="7462" y="6099"/>
                      <a:pt x="3870" y="9036"/>
                      <a:pt x="-31" y="10581"/>
                    </a:cubicBezTo>
                    <a:cubicBezTo>
                      <a:pt x="10021" y="45348"/>
                      <a:pt x="27850" y="87893"/>
                      <a:pt x="39169" y="122042"/>
                    </a:cubicBezTo>
                    <a:cubicBezTo>
                      <a:pt x="42786" y="132781"/>
                      <a:pt x="40538" y="150139"/>
                      <a:pt x="51856" y="150834"/>
                    </a:cubicBezTo>
                    <a:close/>
                  </a:path>
                </a:pathLst>
              </a:custGeom>
              <a:grpFill/>
              <a:ln w="25598" cap="flat">
                <a:noFill/>
                <a:prstDash val="solid"/>
                <a:round/>
              </a:ln>
            </p:spPr>
            <p:txBody>
              <a:bodyPr rtlCol="0" anchor="ctr"/>
              <a:lstStyle/>
              <a:p>
                <a:endParaRPr lang="en-LT"/>
              </a:p>
            </p:txBody>
          </p:sp>
          <p:sp>
            <p:nvSpPr>
              <p:cNvPr id="89" name="Freeform 88">
                <a:extLst>
                  <a:ext uri="{FF2B5EF4-FFF2-40B4-BE49-F238E27FC236}">
                    <a16:creationId xmlns:a16="http://schemas.microsoft.com/office/drawing/2014/main" id="{E88CD5E8-CC61-E440-8BD3-624780F88914}"/>
                  </a:ext>
                </a:extLst>
              </p:cNvPr>
              <p:cNvSpPr/>
              <p:nvPr/>
            </p:nvSpPr>
            <p:spPr>
              <a:xfrm rot="-1917689">
                <a:off x="5861367" y="2525953"/>
                <a:ext cx="55246" cy="155628"/>
              </a:xfrm>
              <a:custGeom>
                <a:avLst/>
                <a:gdLst>
                  <a:gd name="connsiteX0" fmla="*/ 6274 w 55246"/>
                  <a:gd name="connsiteY0" fmla="*/ -107 h 155628"/>
                  <a:gd name="connsiteX1" fmla="*/ -31 w 55246"/>
                  <a:gd name="connsiteY1" fmla="*/ 9705 h 155628"/>
                  <a:gd name="connsiteX2" fmla="*/ 55216 w 55246"/>
                  <a:gd name="connsiteY2" fmla="*/ 155521 h 155628"/>
                  <a:gd name="connsiteX3" fmla="*/ 6274 w 55246"/>
                  <a:gd name="connsiteY3" fmla="*/ -107 h 155628"/>
                </a:gdLst>
                <a:ahLst/>
                <a:cxnLst>
                  <a:cxn ang="0">
                    <a:pos x="connsiteX0" y="connsiteY0"/>
                  </a:cxn>
                  <a:cxn ang="0">
                    <a:pos x="connsiteX1" y="connsiteY1"/>
                  </a:cxn>
                  <a:cxn ang="0">
                    <a:pos x="connsiteX2" y="connsiteY2"/>
                  </a:cxn>
                  <a:cxn ang="0">
                    <a:pos x="connsiteX3" y="connsiteY3"/>
                  </a:cxn>
                </a:cxnLst>
                <a:rect l="l" t="t" r="r" b="b"/>
                <a:pathLst>
                  <a:path w="55246" h="155628">
                    <a:moveTo>
                      <a:pt x="6274" y="-107"/>
                    </a:moveTo>
                    <a:cubicBezTo>
                      <a:pt x="4155" y="3138"/>
                      <a:pt x="2062" y="6409"/>
                      <a:pt x="-31" y="9705"/>
                    </a:cubicBezTo>
                    <a:cubicBezTo>
                      <a:pt x="21003" y="57710"/>
                      <a:pt x="36714" y="106899"/>
                      <a:pt x="55216" y="155521"/>
                    </a:cubicBezTo>
                    <a:cubicBezTo>
                      <a:pt x="47929" y="101645"/>
                      <a:pt x="25189" y="51168"/>
                      <a:pt x="6274" y="-107"/>
                    </a:cubicBezTo>
                    <a:close/>
                  </a:path>
                </a:pathLst>
              </a:custGeom>
              <a:grpFill/>
              <a:ln w="25598" cap="flat">
                <a:noFill/>
                <a:prstDash val="solid"/>
                <a:round/>
              </a:ln>
            </p:spPr>
            <p:txBody>
              <a:bodyPr rtlCol="0" anchor="ctr"/>
              <a:lstStyle/>
              <a:p>
                <a:endParaRPr lang="en-LT"/>
              </a:p>
            </p:txBody>
          </p:sp>
          <p:sp>
            <p:nvSpPr>
              <p:cNvPr id="90" name="Freeform 89">
                <a:extLst>
                  <a:ext uri="{FF2B5EF4-FFF2-40B4-BE49-F238E27FC236}">
                    <a16:creationId xmlns:a16="http://schemas.microsoft.com/office/drawing/2014/main" id="{C3AD4B03-099F-564F-9F3E-B627A92755F2}"/>
                  </a:ext>
                </a:extLst>
              </p:cNvPr>
              <p:cNvSpPr/>
              <p:nvPr/>
            </p:nvSpPr>
            <p:spPr>
              <a:xfrm rot="-1917689">
                <a:off x="6008260" y="2610868"/>
                <a:ext cx="57402" cy="175200"/>
              </a:xfrm>
              <a:custGeom>
                <a:avLst/>
                <a:gdLst>
                  <a:gd name="connsiteX0" fmla="*/ 35348 w 57402"/>
                  <a:gd name="connsiteY0" fmla="*/ 62420 h 175200"/>
                  <a:gd name="connsiteX1" fmla="*/ 22427 w 57402"/>
                  <a:gd name="connsiteY1" fmla="*/ 61055 h 175200"/>
                  <a:gd name="connsiteX2" fmla="*/ 13280 w 57402"/>
                  <a:gd name="connsiteY2" fmla="*/ -109 h 175200"/>
                  <a:gd name="connsiteX3" fmla="*/ -28 w 57402"/>
                  <a:gd name="connsiteY3" fmla="*/ 25927 h 175200"/>
                  <a:gd name="connsiteX4" fmla="*/ 49586 w 57402"/>
                  <a:gd name="connsiteY4" fmla="*/ 175092 h 175200"/>
                  <a:gd name="connsiteX5" fmla="*/ 35348 w 57402"/>
                  <a:gd name="connsiteY5" fmla="*/ 62420 h 17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02" h="175200">
                    <a:moveTo>
                      <a:pt x="35348" y="62420"/>
                    </a:moveTo>
                    <a:cubicBezTo>
                      <a:pt x="29456" y="54308"/>
                      <a:pt x="28422" y="69142"/>
                      <a:pt x="22427" y="61055"/>
                    </a:cubicBezTo>
                    <a:cubicBezTo>
                      <a:pt x="29921" y="38392"/>
                      <a:pt x="19404" y="19644"/>
                      <a:pt x="13280" y="-109"/>
                    </a:cubicBezTo>
                    <a:cubicBezTo>
                      <a:pt x="4313" y="9548"/>
                      <a:pt x="7052" y="16630"/>
                      <a:pt x="-28" y="25927"/>
                    </a:cubicBezTo>
                    <a:cubicBezTo>
                      <a:pt x="19869" y="74910"/>
                      <a:pt x="31110" y="125799"/>
                      <a:pt x="49586" y="175092"/>
                    </a:cubicBezTo>
                    <a:cubicBezTo>
                      <a:pt x="73411" y="131311"/>
                      <a:pt x="34934" y="101128"/>
                      <a:pt x="35348" y="62420"/>
                    </a:cubicBezTo>
                    <a:close/>
                  </a:path>
                </a:pathLst>
              </a:custGeom>
              <a:grpFill/>
              <a:ln w="25598"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24881493-DF6F-3840-A84A-D2138BF382BB}"/>
                  </a:ext>
                </a:extLst>
              </p:cNvPr>
              <p:cNvSpPr/>
              <p:nvPr/>
            </p:nvSpPr>
            <p:spPr>
              <a:xfrm rot="-1917689">
                <a:off x="5424791" y="2640998"/>
                <a:ext cx="138453" cy="219110"/>
              </a:xfrm>
              <a:custGeom>
                <a:avLst/>
                <a:gdLst>
                  <a:gd name="connsiteX0" fmla="*/ 71005 w 138453"/>
                  <a:gd name="connsiteY0" fmla="*/ 128875 h 219110"/>
                  <a:gd name="connsiteX1" fmla="*/ 92608 w 138453"/>
                  <a:gd name="connsiteY1" fmla="*/ 111543 h 219110"/>
                  <a:gd name="connsiteX2" fmla="*/ 71005 w 138453"/>
                  <a:gd name="connsiteY2" fmla="*/ 128875 h 219110"/>
                  <a:gd name="connsiteX3" fmla="*/ 138423 w 138453"/>
                  <a:gd name="connsiteY3" fmla="*/ 137348 h 219110"/>
                  <a:gd name="connsiteX4" fmla="*/ 63873 w 138453"/>
                  <a:gd name="connsiteY4" fmla="*/ -98 h 219110"/>
                  <a:gd name="connsiteX5" fmla="*/ -30 w 138453"/>
                  <a:gd name="connsiteY5" fmla="*/ 93851 h 219110"/>
                  <a:gd name="connsiteX6" fmla="*/ 21572 w 138453"/>
                  <a:gd name="connsiteY6" fmla="*/ 124858 h 219110"/>
                  <a:gd name="connsiteX7" fmla="*/ 44493 w 138453"/>
                  <a:gd name="connsiteY7" fmla="*/ 94598 h 219110"/>
                  <a:gd name="connsiteX8" fmla="*/ 24906 w 138453"/>
                  <a:gd name="connsiteY8" fmla="*/ 130472 h 219110"/>
                  <a:gd name="connsiteX9" fmla="*/ 82349 w 138453"/>
                  <a:gd name="connsiteY9" fmla="*/ 219013 h 219110"/>
                  <a:gd name="connsiteX10" fmla="*/ 138423 w 138453"/>
                  <a:gd name="connsiteY10" fmla="*/ 137348 h 21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53" h="219110">
                    <a:moveTo>
                      <a:pt x="71005" y="128875"/>
                    </a:moveTo>
                    <a:cubicBezTo>
                      <a:pt x="77414" y="119398"/>
                      <a:pt x="85166" y="116308"/>
                      <a:pt x="92608" y="111543"/>
                    </a:cubicBezTo>
                    <a:cubicBezTo>
                      <a:pt x="93125" y="114557"/>
                      <a:pt x="80024" y="137297"/>
                      <a:pt x="71005" y="128875"/>
                    </a:cubicBezTo>
                    <a:close/>
                    <a:moveTo>
                      <a:pt x="138423" y="137348"/>
                    </a:moveTo>
                    <a:cubicBezTo>
                      <a:pt x="112764" y="91687"/>
                      <a:pt x="94029" y="44533"/>
                      <a:pt x="63873" y="-98"/>
                    </a:cubicBezTo>
                    <a:cubicBezTo>
                      <a:pt x="41651" y="27046"/>
                      <a:pt x="21004" y="61221"/>
                      <a:pt x="-30" y="93851"/>
                    </a:cubicBezTo>
                    <a:cubicBezTo>
                      <a:pt x="6998" y="104255"/>
                      <a:pt x="13097" y="114788"/>
                      <a:pt x="21572" y="124858"/>
                    </a:cubicBezTo>
                    <a:cubicBezTo>
                      <a:pt x="29480" y="116050"/>
                      <a:pt x="35139" y="96761"/>
                      <a:pt x="44493" y="94598"/>
                    </a:cubicBezTo>
                    <a:cubicBezTo>
                      <a:pt x="35733" y="107088"/>
                      <a:pt x="28834" y="119115"/>
                      <a:pt x="24906" y="130472"/>
                    </a:cubicBezTo>
                    <a:cubicBezTo>
                      <a:pt x="43433" y="160114"/>
                      <a:pt x="58860" y="190452"/>
                      <a:pt x="82349" y="219013"/>
                    </a:cubicBezTo>
                    <a:cubicBezTo>
                      <a:pt x="100877" y="191096"/>
                      <a:pt x="118578" y="159445"/>
                      <a:pt x="138423" y="137348"/>
                    </a:cubicBezTo>
                    <a:close/>
                  </a:path>
                </a:pathLst>
              </a:custGeom>
              <a:grpFill/>
              <a:ln w="25598"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D05E3A0C-8483-F94C-88C8-0CADF2F96E0E}"/>
                  </a:ext>
                </a:extLst>
              </p:cNvPr>
              <p:cNvSpPr/>
              <p:nvPr/>
            </p:nvSpPr>
            <p:spPr>
              <a:xfrm rot="-1917689">
                <a:off x="5981341" y="2688688"/>
                <a:ext cx="49573" cy="111667"/>
              </a:xfrm>
              <a:custGeom>
                <a:avLst/>
                <a:gdLst>
                  <a:gd name="connsiteX0" fmla="*/ 49547 w 49573"/>
                  <a:gd name="connsiteY0" fmla="*/ 42308 h 111667"/>
                  <a:gd name="connsiteX1" fmla="*/ 31794 w 49573"/>
                  <a:gd name="connsiteY1" fmla="*/ -108 h 111667"/>
                  <a:gd name="connsiteX2" fmla="*/ 11949 w 49573"/>
                  <a:gd name="connsiteY2" fmla="*/ 111559 h 111667"/>
                  <a:gd name="connsiteX3" fmla="*/ 49547 w 49573"/>
                  <a:gd name="connsiteY3" fmla="*/ 42308 h 111667"/>
                </a:gdLst>
                <a:ahLst/>
                <a:cxnLst>
                  <a:cxn ang="0">
                    <a:pos x="connsiteX0" y="connsiteY0"/>
                  </a:cxn>
                  <a:cxn ang="0">
                    <a:pos x="connsiteX1" y="connsiteY1"/>
                  </a:cxn>
                  <a:cxn ang="0">
                    <a:pos x="connsiteX2" y="connsiteY2"/>
                  </a:cxn>
                  <a:cxn ang="0">
                    <a:pos x="connsiteX3" y="connsiteY3"/>
                  </a:cxn>
                </a:cxnLst>
                <a:rect l="l" t="t" r="r" b="b"/>
                <a:pathLst>
                  <a:path w="49573" h="111667">
                    <a:moveTo>
                      <a:pt x="49547" y="42308"/>
                    </a:moveTo>
                    <a:cubicBezTo>
                      <a:pt x="42260" y="28478"/>
                      <a:pt x="42828" y="12897"/>
                      <a:pt x="31794" y="-108"/>
                    </a:cubicBezTo>
                    <a:cubicBezTo>
                      <a:pt x="13344" y="39732"/>
                      <a:pt x="-17019" y="82045"/>
                      <a:pt x="11949" y="111559"/>
                    </a:cubicBezTo>
                    <a:cubicBezTo>
                      <a:pt x="24765" y="88381"/>
                      <a:pt x="31975" y="66490"/>
                      <a:pt x="49547" y="42308"/>
                    </a:cubicBezTo>
                    <a:close/>
                  </a:path>
                </a:pathLst>
              </a:custGeom>
              <a:grpFill/>
              <a:ln w="25598"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021C6726-B556-EE44-BA65-A5972EB7574B}"/>
                  </a:ext>
                </a:extLst>
              </p:cNvPr>
              <p:cNvSpPr/>
              <p:nvPr/>
            </p:nvSpPr>
            <p:spPr>
              <a:xfrm rot="-1917689">
                <a:off x="5652202" y="2687059"/>
                <a:ext cx="234605" cy="458927"/>
              </a:xfrm>
              <a:custGeom>
                <a:avLst/>
                <a:gdLst>
                  <a:gd name="connsiteX0" fmla="*/ 234581 w 234605"/>
                  <a:gd name="connsiteY0" fmla="*/ 392020 h 458927"/>
                  <a:gd name="connsiteX1" fmla="*/ 53542 w 234605"/>
                  <a:gd name="connsiteY1" fmla="*/ -103 h 458927"/>
                  <a:gd name="connsiteX2" fmla="*/ -25 w 234605"/>
                  <a:gd name="connsiteY2" fmla="*/ 83133 h 458927"/>
                  <a:gd name="connsiteX3" fmla="*/ 198533 w 234605"/>
                  <a:gd name="connsiteY3" fmla="*/ 458824 h 458927"/>
                  <a:gd name="connsiteX4" fmla="*/ 234581 w 234605"/>
                  <a:gd name="connsiteY4" fmla="*/ 392020 h 45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5" h="458927">
                    <a:moveTo>
                      <a:pt x="234581" y="392020"/>
                    </a:moveTo>
                    <a:cubicBezTo>
                      <a:pt x="180367" y="259930"/>
                      <a:pt x="121270" y="129000"/>
                      <a:pt x="53542" y="-103"/>
                    </a:cubicBezTo>
                    <a:cubicBezTo>
                      <a:pt x="35660" y="27659"/>
                      <a:pt x="17831" y="55396"/>
                      <a:pt x="-25" y="83133"/>
                    </a:cubicBezTo>
                    <a:cubicBezTo>
                      <a:pt x="73724" y="206775"/>
                      <a:pt x="133338" y="333379"/>
                      <a:pt x="198533" y="458824"/>
                    </a:cubicBezTo>
                    <a:cubicBezTo>
                      <a:pt x="208895" y="436882"/>
                      <a:pt x="219748" y="414863"/>
                      <a:pt x="234581" y="392020"/>
                    </a:cubicBezTo>
                    <a:close/>
                  </a:path>
                </a:pathLst>
              </a:custGeom>
              <a:grpFill/>
              <a:ln w="25598" cap="flat">
                <a:noFill/>
                <a:prstDash val="solid"/>
                <a:round/>
              </a:ln>
            </p:spPr>
            <p:txBody>
              <a:bodyPr rtlCol="0" anchor="ctr"/>
              <a:lstStyle/>
              <a:p>
                <a:endParaRPr lang="en-LT"/>
              </a:p>
            </p:txBody>
          </p:sp>
          <p:sp>
            <p:nvSpPr>
              <p:cNvPr id="94" name="Freeform 93">
                <a:extLst>
                  <a:ext uri="{FF2B5EF4-FFF2-40B4-BE49-F238E27FC236}">
                    <a16:creationId xmlns:a16="http://schemas.microsoft.com/office/drawing/2014/main" id="{34993BC6-825F-3640-81B5-5B4798C6049E}"/>
                  </a:ext>
                </a:extLst>
              </p:cNvPr>
              <p:cNvSpPr/>
              <p:nvPr/>
            </p:nvSpPr>
            <p:spPr>
              <a:xfrm rot="-1917689">
                <a:off x="5423845" y="2777213"/>
                <a:ext cx="40440" cy="60468"/>
              </a:xfrm>
              <a:custGeom>
                <a:avLst/>
                <a:gdLst>
                  <a:gd name="connsiteX0" fmla="*/ 40411 w 40440"/>
                  <a:gd name="connsiteY0" fmla="*/ 30988 h 60468"/>
                  <a:gd name="connsiteX1" fmla="*/ 18860 w 40440"/>
                  <a:gd name="connsiteY1" fmla="*/ -97 h 60468"/>
                  <a:gd name="connsiteX2" fmla="*/ -29 w 40440"/>
                  <a:gd name="connsiteY2" fmla="*/ 29262 h 60468"/>
                  <a:gd name="connsiteX3" fmla="*/ 21547 w 40440"/>
                  <a:gd name="connsiteY3" fmla="*/ 60372 h 60468"/>
                  <a:gd name="connsiteX4" fmla="*/ 40411 w 40440"/>
                  <a:gd name="connsiteY4" fmla="*/ 30988 h 60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0" h="60468">
                    <a:moveTo>
                      <a:pt x="40411" y="30988"/>
                    </a:moveTo>
                    <a:cubicBezTo>
                      <a:pt x="29971" y="21356"/>
                      <a:pt x="29351" y="9561"/>
                      <a:pt x="18860" y="-97"/>
                    </a:cubicBezTo>
                    <a:cubicBezTo>
                      <a:pt x="12555" y="9741"/>
                      <a:pt x="6276" y="19502"/>
                      <a:pt x="-29" y="29262"/>
                    </a:cubicBezTo>
                    <a:cubicBezTo>
                      <a:pt x="6973" y="39667"/>
                      <a:pt x="13072" y="50277"/>
                      <a:pt x="21547" y="60372"/>
                    </a:cubicBezTo>
                    <a:cubicBezTo>
                      <a:pt x="27827" y="50560"/>
                      <a:pt x="34132" y="40774"/>
                      <a:pt x="40411" y="30988"/>
                    </a:cubicBezTo>
                    <a:close/>
                  </a:path>
                </a:pathLst>
              </a:custGeom>
              <a:grpFill/>
              <a:ln w="25598" cap="flat">
                <a:noFill/>
                <a:prstDash val="solid"/>
                <a:round/>
              </a:ln>
            </p:spPr>
            <p:txBody>
              <a:bodyPr rtlCol="0" anchor="ctr"/>
              <a:lstStyle/>
              <a:p>
                <a:endParaRPr lang="en-LT"/>
              </a:p>
            </p:txBody>
          </p:sp>
          <p:sp>
            <p:nvSpPr>
              <p:cNvPr id="95" name="Freeform 94">
                <a:extLst>
                  <a:ext uri="{FF2B5EF4-FFF2-40B4-BE49-F238E27FC236}">
                    <a16:creationId xmlns:a16="http://schemas.microsoft.com/office/drawing/2014/main" id="{F47ABB11-D68C-6E44-AB9B-2B2681FEEF6A}"/>
                  </a:ext>
                </a:extLst>
              </p:cNvPr>
              <p:cNvSpPr/>
              <p:nvPr/>
            </p:nvSpPr>
            <p:spPr>
              <a:xfrm rot="-1917689">
                <a:off x="5477106" y="2781773"/>
                <a:ext cx="74782" cy="117899"/>
              </a:xfrm>
              <a:custGeom>
                <a:avLst/>
                <a:gdLst>
                  <a:gd name="connsiteX0" fmla="*/ 74754 w 74782"/>
                  <a:gd name="connsiteY0" fmla="*/ 90863 h 117899"/>
                  <a:gd name="connsiteX1" fmla="*/ 18861 w 74782"/>
                  <a:gd name="connsiteY1" fmla="*/ -98 h 117899"/>
                  <a:gd name="connsiteX2" fmla="*/ -28 w 74782"/>
                  <a:gd name="connsiteY2" fmla="*/ 29261 h 117899"/>
                  <a:gd name="connsiteX3" fmla="*/ 57415 w 74782"/>
                  <a:gd name="connsiteY3" fmla="*/ 117802 h 117899"/>
                  <a:gd name="connsiteX4" fmla="*/ 74754 w 74782"/>
                  <a:gd name="connsiteY4" fmla="*/ 90863 h 117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2" h="117899">
                    <a:moveTo>
                      <a:pt x="74754" y="90863"/>
                    </a:moveTo>
                    <a:cubicBezTo>
                      <a:pt x="57622" y="60243"/>
                      <a:pt x="36407" y="30446"/>
                      <a:pt x="18861" y="-98"/>
                    </a:cubicBezTo>
                    <a:cubicBezTo>
                      <a:pt x="12582" y="9689"/>
                      <a:pt x="6277" y="19501"/>
                      <a:pt x="-28" y="29261"/>
                    </a:cubicBezTo>
                    <a:cubicBezTo>
                      <a:pt x="20593" y="58440"/>
                      <a:pt x="34340" y="89164"/>
                      <a:pt x="57415" y="117802"/>
                    </a:cubicBezTo>
                    <a:cubicBezTo>
                      <a:pt x="63178" y="108839"/>
                      <a:pt x="68940" y="99851"/>
                      <a:pt x="74754" y="90863"/>
                    </a:cubicBezTo>
                    <a:close/>
                  </a:path>
                </a:pathLst>
              </a:custGeom>
              <a:grpFill/>
              <a:ln w="25598"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9ECA6559-FC14-C241-A037-C36D5793A4DE}"/>
                  </a:ext>
                </a:extLst>
              </p:cNvPr>
              <p:cNvSpPr/>
              <p:nvPr/>
            </p:nvSpPr>
            <p:spPr>
              <a:xfrm rot="-1917689">
                <a:off x="5437816" y="2932768"/>
                <a:ext cx="98633" cy="162993"/>
              </a:xfrm>
              <a:custGeom>
                <a:avLst/>
                <a:gdLst>
                  <a:gd name="connsiteX0" fmla="*/ 26720 w 98633"/>
                  <a:gd name="connsiteY0" fmla="*/ -96 h 162993"/>
                  <a:gd name="connsiteX1" fmla="*/ -25 w 98633"/>
                  <a:gd name="connsiteY1" fmla="*/ 41521 h 162993"/>
                  <a:gd name="connsiteX2" fmla="*/ 70933 w 98633"/>
                  <a:gd name="connsiteY2" fmla="*/ 162897 h 162993"/>
                  <a:gd name="connsiteX3" fmla="*/ 98608 w 98633"/>
                  <a:gd name="connsiteY3" fmla="*/ 125272 h 162993"/>
                  <a:gd name="connsiteX4" fmla="*/ 26720 w 98633"/>
                  <a:gd name="connsiteY4" fmla="*/ -96 h 16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3" h="162993">
                    <a:moveTo>
                      <a:pt x="26720" y="-96"/>
                    </a:moveTo>
                    <a:cubicBezTo>
                      <a:pt x="17831" y="13759"/>
                      <a:pt x="8890" y="27640"/>
                      <a:pt x="-25" y="41521"/>
                    </a:cubicBezTo>
                    <a:cubicBezTo>
                      <a:pt x="22508" y="82212"/>
                      <a:pt x="45299" y="122825"/>
                      <a:pt x="70933" y="162897"/>
                    </a:cubicBezTo>
                    <a:cubicBezTo>
                      <a:pt x="79305" y="146209"/>
                      <a:pt x="90262" y="141934"/>
                      <a:pt x="98608" y="125272"/>
                    </a:cubicBezTo>
                    <a:cubicBezTo>
                      <a:pt x="73130" y="83757"/>
                      <a:pt x="53232" y="41109"/>
                      <a:pt x="26720" y="-96"/>
                    </a:cubicBezTo>
                    <a:close/>
                  </a:path>
                </a:pathLst>
              </a:custGeom>
              <a:grpFill/>
              <a:ln w="25598"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D8C29D8B-46A5-6044-A641-E2A1DABD59F6}"/>
                  </a:ext>
                </a:extLst>
              </p:cNvPr>
              <p:cNvSpPr/>
              <p:nvPr/>
            </p:nvSpPr>
            <p:spPr>
              <a:xfrm rot="-1917689">
                <a:off x="5363617" y="3012543"/>
                <a:ext cx="220677" cy="318982"/>
              </a:xfrm>
              <a:custGeom>
                <a:avLst/>
                <a:gdLst>
                  <a:gd name="connsiteX0" fmla="*/ 147605 w 220677"/>
                  <a:gd name="connsiteY0" fmla="*/ 70186 h 318982"/>
                  <a:gd name="connsiteX1" fmla="*/ 141791 w 220677"/>
                  <a:gd name="connsiteY1" fmla="*/ 63001 h 318982"/>
                  <a:gd name="connsiteX2" fmla="*/ 151274 w 220677"/>
                  <a:gd name="connsiteY2" fmla="*/ 48322 h 318982"/>
                  <a:gd name="connsiteX3" fmla="*/ 160422 w 220677"/>
                  <a:gd name="connsiteY3" fmla="*/ 61095 h 318982"/>
                  <a:gd name="connsiteX4" fmla="*/ 147605 w 220677"/>
                  <a:gd name="connsiteY4" fmla="*/ 70186 h 318982"/>
                  <a:gd name="connsiteX5" fmla="*/ 164091 w 220677"/>
                  <a:gd name="connsiteY5" fmla="*/ 87596 h 318982"/>
                  <a:gd name="connsiteX6" fmla="*/ 200862 w 220677"/>
                  <a:gd name="connsiteY6" fmla="*/ 149069 h 318982"/>
                  <a:gd name="connsiteX7" fmla="*/ 171275 w 220677"/>
                  <a:gd name="connsiteY7" fmla="*/ 81853 h 318982"/>
                  <a:gd name="connsiteX8" fmla="*/ 209622 w 220677"/>
                  <a:gd name="connsiteY8" fmla="*/ 140880 h 318982"/>
                  <a:gd name="connsiteX9" fmla="*/ 220656 w 220677"/>
                  <a:gd name="connsiteY9" fmla="*/ 123754 h 318982"/>
                  <a:gd name="connsiteX10" fmla="*/ 151274 w 220677"/>
                  <a:gd name="connsiteY10" fmla="*/ -95 h 318982"/>
                  <a:gd name="connsiteX11" fmla="*/ 142153 w 220677"/>
                  <a:gd name="connsiteY11" fmla="*/ 35625 h 318982"/>
                  <a:gd name="connsiteX12" fmla="*/ 126028 w 220677"/>
                  <a:gd name="connsiteY12" fmla="*/ 39102 h 318982"/>
                  <a:gd name="connsiteX13" fmla="*/ -22 w 220677"/>
                  <a:gd name="connsiteY13" fmla="*/ 186541 h 318982"/>
                  <a:gd name="connsiteX14" fmla="*/ 31194 w 220677"/>
                  <a:gd name="connsiteY14" fmla="*/ 213376 h 318982"/>
                  <a:gd name="connsiteX15" fmla="*/ 88146 w 220677"/>
                  <a:gd name="connsiteY15" fmla="*/ 318888 h 318982"/>
                  <a:gd name="connsiteX16" fmla="*/ 112074 w 220677"/>
                  <a:gd name="connsiteY16" fmla="*/ 254736 h 318982"/>
                  <a:gd name="connsiteX17" fmla="*/ 190526 w 220677"/>
                  <a:gd name="connsiteY17" fmla="*/ 159757 h 318982"/>
                  <a:gd name="connsiteX18" fmla="*/ 164091 w 220677"/>
                  <a:gd name="connsiteY18" fmla="*/ 87596 h 31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677" h="318982">
                    <a:moveTo>
                      <a:pt x="147605" y="70186"/>
                    </a:moveTo>
                    <a:cubicBezTo>
                      <a:pt x="146494" y="67611"/>
                      <a:pt x="145254" y="65062"/>
                      <a:pt x="141791" y="63001"/>
                    </a:cubicBezTo>
                    <a:cubicBezTo>
                      <a:pt x="144969" y="58134"/>
                      <a:pt x="148096" y="53215"/>
                      <a:pt x="151274" y="48322"/>
                    </a:cubicBezTo>
                    <a:cubicBezTo>
                      <a:pt x="157683" y="51850"/>
                      <a:pt x="156417" y="57026"/>
                      <a:pt x="160422" y="61095"/>
                    </a:cubicBezTo>
                    <a:cubicBezTo>
                      <a:pt x="155822" y="62692"/>
                      <a:pt x="152205" y="68564"/>
                      <a:pt x="147605" y="70186"/>
                    </a:cubicBezTo>
                    <a:close/>
                    <a:moveTo>
                      <a:pt x="164091" y="87596"/>
                    </a:moveTo>
                    <a:cubicBezTo>
                      <a:pt x="178950" y="104954"/>
                      <a:pt x="184764" y="146005"/>
                      <a:pt x="200862" y="149069"/>
                    </a:cubicBezTo>
                    <a:cubicBezTo>
                      <a:pt x="195384" y="127102"/>
                      <a:pt x="167864" y="98747"/>
                      <a:pt x="171275" y="81853"/>
                    </a:cubicBezTo>
                    <a:cubicBezTo>
                      <a:pt x="186650" y="99777"/>
                      <a:pt x="192077" y="130372"/>
                      <a:pt x="209622" y="140880"/>
                    </a:cubicBezTo>
                    <a:cubicBezTo>
                      <a:pt x="213292" y="135163"/>
                      <a:pt x="216961" y="129471"/>
                      <a:pt x="220656" y="123754"/>
                    </a:cubicBezTo>
                    <a:cubicBezTo>
                      <a:pt x="197193" y="82574"/>
                      <a:pt x="176185" y="40827"/>
                      <a:pt x="151274" y="-95"/>
                    </a:cubicBezTo>
                    <a:cubicBezTo>
                      <a:pt x="140912" y="13374"/>
                      <a:pt x="133083" y="26328"/>
                      <a:pt x="142153" y="35625"/>
                    </a:cubicBezTo>
                    <a:cubicBezTo>
                      <a:pt x="133625" y="42193"/>
                      <a:pt x="131377" y="32097"/>
                      <a:pt x="126028" y="39102"/>
                    </a:cubicBezTo>
                    <a:cubicBezTo>
                      <a:pt x="85381" y="94524"/>
                      <a:pt x="39902" y="127977"/>
                      <a:pt x="-22" y="186541"/>
                    </a:cubicBezTo>
                    <a:cubicBezTo>
                      <a:pt x="4449" y="196816"/>
                      <a:pt x="17291" y="205238"/>
                      <a:pt x="31194" y="213376"/>
                    </a:cubicBezTo>
                    <a:cubicBezTo>
                      <a:pt x="13984" y="255251"/>
                      <a:pt x="37654" y="298697"/>
                      <a:pt x="88146" y="318888"/>
                    </a:cubicBezTo>
                    <a:cubicBezTo>
                      <a:pt x="117966" y="311986"/>
                      <a:pt x="119284" y="272686"/>
                      <a:pt x="112074" y="254736"/>
                    </a:cubicBezTo>
                    <a:cubicBezTo>
                      <a:pt x="135357" y="229060"/>
                      <a:pt x="162954" y="191923"/>
                      <a:pt x="190526" y="159757"/>
                    </a:cubicBezTo>
                    <a:cubicBezTo>
                      <a:pt x="182076" y="135626"/>
                      <a:pt x="157760" y="114998"/>
                      <a:pt x="164091" y="87596"/>
                    </a:cubicBezTo>
                    <a:close/>
                  </a:path>
                </a:pathLst>
              </a:custGeom>
              <a:grpFill/>
              <a:ln w="25598"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BE4168E6-7BE3-D542-BC47-263CB62ACAF2}"/>
                  </a:ext>
                </a:extLst>
              </p:cNvPr>
              <p:cNvSpPr/>
              <p:nvPr/>
            </p:nvSpPr>
            <p:spPr>
              <a:xfrm rot="-1917689">
                <a:off x="5606714" y="3094781"/>
                <a:ext cx="66332" cy="106362"/>
              </a:xfrm>
              <a:custGeom>
                <a:avLst/>
                <a:gdLst>
                  <a:gd name="connsiteX0" fmla="*/ 66311 w 66332"/>
                  <a:gd name="connsiteY0" fmla="*/ 106263 h 106362"/>
                  <a:gd name="connsiteX1" fmla="*/ 13468 w 66332"/>
                  <a:gd name="connsiteY1" fmla="*/ -99 h 106362"/>
                  <a:gd name="connsiteX2" fmla="*/ -21 w 66332"/>
                  <a:gd name="connsiteY2" fmla="*/ 15457 h 106362"/>
                  <a:gd name="connsiteX3" fmla="*/ 66311 w 66332"/>
                  <a:gd name="connsiteY3" fmla="*/ 106263 h 106362"/>
                </a:gdLst>
                <a:ahLst/>
                <a:cxnLst>
                  <a:cxn ang="0">
                    <a:pos x="connsiteX0" y="connsiteY0"/>
                  </a:cxn>
                  <a:cxn ang="0">
                    <a:pos x="connsiteX1" y="connsiteY1"/>
                  </a:cxn>
                  <a:cxn ang="0">
                    <a:pos x="connsiteX2" y="connsiteY2"/>
                  </a:cxn>
                  <a:cxn ang="0">
                    <a:pos x="connsiteX3" y="connsiteY3"/>
                  </a:cxn>
                </a:cxnLst>
                <a:rect l="l" t="t" r="r" b="b"/>
                <a:pathLst>
                  <a:path w="66332" h="106362">
                    <a:moveTo>
                      <a:pt x="66311" y="106263"/>
                    </a:moveTo>
                    <a:cubicBezTo>
                      <a:pt x="48171" y="70904"/>
                      <a:pt x="35122" y="34514"/>
                      <a:pt x="13468" y="-99"/>
                    </a:cubicBezTo>
                    <a:cubicBezTo>
                      <a:pt x="9617" y="8374"/>
                      <a:pt x="3493" y="5748"/>
                      <a:pt x="-21" y="15457"/>
                    </a:cubicBezTo>
                    <a:cubicBezTo>
                      <a:pt x="16956" y="45459"/>
                      <a:pt x="17654" y="90168"/>
                      <a:pt x="66311" y="106263"/>
                    </a:cubicBezTo>
                    <a:close/>
                  </a:path>
                </a:pathLst>
              </a:custGeom>
              <a:grpFill/>
              <a:ln w="25598"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05F41DCD-95C4-004E-91CD-530FE1AC894D}"/>
                  </a:ext>
                </a:extLst>
              </p:cNvPr>
              <p:cNvSpPr/>
              <p:nvPr/>
            </p:nvSpPr>
            <p:spPr>
              <a:xfrm rot="-1917689">
                <a:off x="5603413" y="3133769"/>
                <a:ext cx="28480" cy="52691"/>
              </a:xfrm>
              <a:custGeom>
                <a:avLst/>
                <a:gdLst>
                  <a:gd name="connsiteX0" fmla="*/ 34 w 28480"/>
                  <a:gd name="connsiteY0" fmla="*/ -98 h 52691"/>
                  <a:gd name="connsiteX1" fmla="*/ 28459 w 28480"/>
                  <a:gd name="connsiteY1" fmla="*/ 52594 h 52691"/>
                  <a:gd name="connsiteX2" fmla="*/ 34 w 28480"/>
                  <a:gd name="connsiteY2" fmla="*/ -98 h 52691"/>
                </a:gdLst>
                <a:ahLst/>
                <a:cxnLst>
                  <a:cxn ang="0">
                    <a:pos x="connsiteX0" y="connsiteY0"/>
                  </a:cxn>
                  <a:cxn ang="0">
                    <a:pos x="connsiteX1" y="connsiteY1"/>
                  </a:cxn>
                  <a:cxn ang="0">
                    <a:pos x="connsiteX2" y="connsiteY2"/>
                  </a:cxn>
                </a:cxnLst>
                <a:rect l="l" t="t" r="r" b="b"/>
                <a:pathLst>
                  <a:path w="28480" h="52691">
                    <a:moveTo>
                      <a:pt x="34" y="-98"/>
                    </a:moveTo>
                    <a:cubicBezTo>
                      <a:pt x="-947" y="18342"/>
                      <a:pt x="11198" y="45074"/>
                      <a:pt x="28459" y="52594"/>
                    </a:cubicBezTo>
                    <a:cubicBezTo>
                      <a:pt x="19286" y="34952"/>
                      <a:pt x="15074" y="16204"/>
                      <a:pt x="34" y="-98"/>
                    </a:cubicBezTo>
                    <a:close/>
                  </a:path>
                </a:pathLst>
              </a:custGeom>
              <a:grpFill/>
              <a:ln w="25598" cap="flat">
                <a:noFill/>
                <a:prstDash val="solid"/>
                <a:round/>
              </a:ln>
            </p:spPr>
            <p:txBody>
              <a:bodyPr rtlCol="0" anchor="ctr"/>
              <a:lstStyle/>
              <a:p>
                <a:endParaRPr lang="en-LT"/>
              </a:p>
            </p:txBody>
          </p:sp>
          <p:sp>
            <p:nvSpPr>
              <p:cNvPr id="100" name="Freeform 99">
                <a:extLst>
                  <a:ext uri="{FF2B5EF4-FFF2-40B4-BE49-F238E27FC236}">
                    <a16:creationId xmlns:a16="http://schemas.microsoft.com/office/drawing/2014/main" id="{2CF18046-A050-FB4A-9148-BA20805C304C}"/>
                  </a:ext>
                </a:extLst>
              </p:cNvPr>
              <p:cNvSpPr/>
              <p:nvPr/>
            </p:nvSpPr>
            <p:spPr>
              <a:xfrm rot="-1917689">
                <a:off x="5588774" y="3158973"/>
                <a:ext cx="16528" cy="18719"/>
              </a:xfrm>
              <a:custGeom>
                <a:avLst/>
                <a:gdLst>
                  <a:gd name="connsiteX0" fmla="*/ 16507 w 16528"/>
                  <a:gd name="connsiteY0" fmla="*/ 18239 h 18719"/>
                  <a:gd name="connsiteX1" fmla="*/ 4000 w 16528"/>
                  <a:gd name="connsiteY1" fmla="*/ -98 h 18719"/>
                  <a:gd name="connsiteX2" fmla="*/ 16507 w 16528"/>
                  <a:gd name="connsiteY2" fmla="*/ 18239 h 18719"/>
                </a:gdLst>
                <a:ahLst/>
                <a:cxnLst>
                  <a:cxn ang="0">
                    <a:pos x="connsiteX0" y="connsiteY0"/>
                  </a:cxn>
                  <a:cxn ang="0">
                    <a:pos x="connsiteX1" y="connsiteY1"/>
                  </a:cxn>
                  <a:cxn ang="0">
                    <a:pos x="connsiteX2" y="connsiteY2"/>
                  </a:cxn>
                </a:cxnLst>
                <a:rect l="l" t="t" r="r" b="b"/>
                <a:pathLst>
                  <a:path w="16528" h="18719">
                    <a:moveTo>
                      <a:pt x="16507" y="18239"/>
                    </a:moveTo>
                    <a:cubicBezTo>
                      <a:pt x="8341" y="13011"/>
                      <a:pt x="13251" y="4925"/>
                      <a:pt x="4000" y="-98"/>
                    </a:cubicBezTo>
                    <a:cubicBezTo>
                      <a:pt x="-7705" y="8247"/>
                      <a:pt x="9143" y="20995"/>
                      <a:pt x="16507" y="18239"/>
                    </a:cubicBezTo>
                    <a:close/>
                  </a:path>
                </a:pathLst>
              </a:custGeom>
              <a:grpFill/>
              <a:ln w="25598" cap="flat">
                <a:noFill/>
                <a:prstDash val="solid"/>
                <a:round/>
              </a:ln>
            </p:spPr>
            <p:txBody>
              <a:bodyPr rtlCol="0" anchor="ctr"/>
              <a:lstStyle/>
              <a:p>
                <a:endParaRPr lang="en-LT"/>
              </a:p>
            </p:txBody>
          </p:sp>
          <p:sp>
            <p:nvSpPr>
              <p:cNvPr id="101" name="Freeform 100">
                <a:extLst>
                  <a:ext uri="{FF2B5EF4-FFF2-40B4-BE49-F238E27FC236}">
                    <a16:creationId xmlns:a16="http://schemas.microsoft.com/office/drawing/2014/main" id="{530D607C-D10B-E447-A334-143056E026F2}"/>
                  </a:ext>
                </a:extLst>
              </p:cNvPr>
              <p:cNvSpPr/>
              <p:nvPr/>
            </p:nvSpPr>
            <p:spPr>
              <a:xfrm rot="-1917689">
                <a:off x="5588974" y="3169080"/>
                <a:ext cx="58916" cy="54803"/>
              </a:xfrm>
              <a:custGeom>
                <a:avLst/>
                <a:gdLst>
                  <a:gd name="connsiteX0" fmla="*/ -20 w 58916"/>
                  <a:gd name="connsiteY0" fmla="*/ 17003 h 54803"/>
                  <a:gd name="connsiteX1" fmla="*/ 58896 w 58916"/>
                  <a:gd name="connsiteY1" fmla="*/ 54705 h 54803"/>
                  <a:gd name="connsiteX2" fmla="*/ 10988 w 58916"/>
                  <a:gd name="connsiteY2" fmla="*/ -98 h 54803"/>
                  <a:gd name="connsiteX3" fmla="*/ -20 w 58916"/>
                  <a:gd name="connsiteY3" fmla="*/ 17003 h 54803"/>
                </a:gdLst>
                <a:ahLst/>
                <a:cxnLst>
                  <a:cxn ang="0">
                    <a:pos x="connsiteX0" y="connsiteY0"/>
                  </a:cxn>
                  <a:cxn ang="0">
                    <a:pos x="connsiteX1" y="connsiteY1"/>
                  </a:cxn>
                  <a:cxn ang="0">
                    <a:pos x="connsiteX2" y="connsiteY2"/>
                  </a:cxn>
                  <a:cxn ang="0">
                    <a:pos x="connsiteX3" y="connsiteY3"/>
                  </a:cxn>
                </a:cxnLst>
                <a:rect l="l" t="t" r="r" b="b"/>
                <a:pathLst>
                  <a:path w="58916" h="54803">
                    <a:moveTo>
                      <a:pt x="-20" y="17003"/>
                    </a:moveTo>
                    <a:cubicBezTo>
                      <a:pt x="23805" y="27278"/>
                      <a:pt x="37707" y="50868"/>
                      <a:pt x="58896" y="54705"/>
                    </a:cubicBezTo>
                    <a:cubicBezTo>
                      <a:pt x="50705" y="34772"/>
                      <a:pt x="31428" y="17182"/>
                      <a:pt x="10988" y="-98"/>
                    </a:cubicBezTo>
                    <a:cubicBezTo>
                      <a:pt x="7318" y="5619"/>
                      <a:pt x="3623" y="11311"/>
                      <a:pt x="-20" y="17003"/>
                    </a:cubicBezTo>
                    <a:close/>
                  </a:path>
                </a:pathLst>
              </a:custGeom>
              <a:grpFill/>
              <a:ln w="25598"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EDC3C50C-174B-5B4C-BED4-332DE0B6ED46}"/>
                  </a:ext>
                </a:extLst>
              </p:cNvPr>
              <p:cNvSpPr/>
              <p:nvPr/>
            </p:nvSpPr>
            <p:spPr>
              <a:xfrm rot="-1917689">
                <a:off x="5676546" y="3175694"/>
                <a:ext cx="31877" cy="25378"/>
              </a:xfrm>
              <a:custGeom>
                <a:avLst/>
                <a:gdLst>
                  <a:gd name="connsiteX0" fmla="*/ 22100 w 31877"/>
                  <a:gd name="connsiteY0" fmla="*/ 15108 h 25378"/>
                  <a:gd name="connsiteX1" fmla="*/ 6466 w 31877"/>
                  <a:gd name="connsiteY1" fmla="*/ 1613 h 25378"/>
                  <a:gd name="connsiteX2" fmla="*/ -20 w 31877"/>
                  <a:gd name="connsiteY2" fmla="*/ 969 h 25378"/>
                  <a:gd name="connsiteX3" fmla="*/ 22100 w 31877"/>
                  <a:gd name="connsiteY3" fmla="*/ 15108 h 25378"/>
                </a:gdLst>
                <a:ahLst/>
                <a:cxnLst>
                  <a:cxn ang="0">
                    <a:pos x="connsiteX0" y="connsiteY0"/>
                  </a:cxn>
                  <a:cxn ang="0">
                    <a:pos x="connsiteX1" y="connsiteY1"/>
                  </a:cxn>
                  <a:cxn ang="0">
                    <a:pos x="connsiteX2" y="connsiteY2"/>
                  </a:cxn>
                  <a:cxn ang="0">
                    <a:pos x="connsiteX3" y="connsiteY3"/>
                  </a:cxn>
                </a:cxnLst>
                <a:rect l="l" t="t" r="r" b="b"/>
                <a:pathLst>
                  <a:path w="31877" h="25378">
                    <a:moveTo>
                      <a:pt x="22100" y="15108"/>
                    </a:moveTo>
                    <a:cubicBezTo>
                      <a:pt x="15356" y="9159"/>
                      <a:pt x="24942" y="9365"/>
                      <a:pt x="6466" y="1613"/>
                    </a:cubicBezTo>
                    <a:cubicBezTo>
                      <a:pt x="5407" y="1175"/>
                      <a:pt x="84" y="-1580"/>
                      <a:pt x="-20" y="969"/>
                    </a:cubicBezTo>
                    <a:cubicBezTo>
                      <a:pt x="-200" y="6403"/>
                      <a:pt x="53264" y="42535"/>
                      <a:pt x="22100" y="15108"/>
                    </a:cubicBezTo>
                    <a:close/>
                  </a:path>
                </a:pathLst>
              </a:custGeom>
              <a:grpFill/>
              <a:ln w="25598"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67565992-0A02-5F47-9F5E-62EDA4D627AA}"/>
                  </a:ext>
                </a:extLst>
              </p:cNvPr>
              <p:cNvSpPr/>
              <p:nvPr/>
            </p:nvSpPr>
            <p:spPr>
              <a:xfrm rot="-1917689">
                <a:off x="5889555" y="3182606"/>
                <a:ext cx="68763" cy="47308"/>
              </a:xfrm>
              <a:custGeom>
                <a:avLst/>
                <a:gdLst>
                  <a:gd name="connsiteX0" fmla="*/ 68255 w 68763"/>
                  <a:gd name="connsiteY0" fmla="*/ 29383 h 47308"/>
                  <a:gd name="connsiteX1" fmla="*/ 527 w 68763"/>
                  <a:gd name="connsiteY1" fmla="*/ -104 h 47308"/>
                  <a:gd name="connsiteX2" fmla="*/ 63733 w 68763"/>
                  <a:gd name="connsiteY2" fmla="*/ 47205 h 47308"/>
                  <a:gd name="connsiteX3" fmla="*/ 68255 w 68763"/>
                  <a:gd name="connsiteY3" fmla="*/ 29383 h 47308"/>
                </a:gdLst>
                <a:ahLst/>
                <a:cxnLst>
                  <a:cxn ang="0">
                    <a:pos x="connsiteX0" y="connsiteY0"/>
                  </a:cxn>
                  <a:cxn ang="0">
                    <a:pos x="connsiteX1" y="connsiteY1"/>
                  </a:cxn>
                  <a:cxn ang="0">
                    <a:pos x="connsiteX2" y="connsiteY2"/>
                  </a:cxn>
                  <a:cxn ang="0">
                    <a:pos x="connsiteX3" y="connsiteY3"/>
                  </a:cxn>
                </a:cxnLst>
                <a:rect l="l" t="t" r="r" b="b"/>
                <a:pathLst>
                  <a:path w="68763" h="47308">
                    <a:moveTo>
                      <a:pt x="68255" y="29383"/>
                    </a:moveTo>
                    <a:cubicBezTo>
                      <a:pt x="46291" y="22482"/>
                      <a:pt x="23965" y="13468"/>
                      <a:pt x="527" y="-104"/>
                    </a:cubicBezTo>
                    <a:cubicBezTo>
                      <a:pt x="-5700" y="25675"/>
                      <a:pt x="43009" y="39428"/>
                      <a:pt x="63733" y="47205"/>
                    </a:cubicBezTo>
                    <a:cubicBezTo>
                      <a:pt x="67506" y="40741"/>
                      <a:pt x="69806" y="34637"/>
                      <a:pt x="68255" y="29383"/>
                    </a:cubicBezTo>
                    <a:close/>
                  </a:path>
                </a:pathLst>
              </a:custGeom>
              <a:grpFill/>
              <a:ln w="25598"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05AC9298-B536-B541-803B-4111ECF6AF74}"/>
                  </a:ext>
                </a:extLst>
              </p:cNvPr>
              <p:cNvSpPr/>
              <p:nvPr/>
            </p:nvSpPr>
            <p:spPr>
              <a:xfrm rot="-1917689">
                <a:off x="5823948" y="3192074"/>
                <a:ext cx="22164" cy="12543"/>
              </a:xfrm>
              <a:custGeom>
                <a:avLst/>
                <a:gdLst>
                  <a:gd name="connsiteX0" fmla="*/ 22146 w 22164"/>
                  <a:gd name="connsiteY0" fmla="*/ 12441 h 12543"/>
                  <a:gd name="connsiteX1" fmla="*/ 22146 w 22164"/>
                  <a:gd name="connsiteY1" fmla="*/ 12441 h 12543"/>
                </a:gdLst>
                <a:ahLst/>
                <a:cxnLst>
                  <a:cxn ang="0">
                    <a:pos x="connsiteX0" y="connsiteY0"/>
                  </a:cxn>
                  <a:cxn ang="0">
                    <a:pos x="connsiteX1" y="connsiteY1"/>
                  </a:cxn>
                </a:cxnLst>
                <a:rect l="l" t="t" r="r" b="b"/>
                <a:pathLst>
                  <a:path w="22164" h="12543">
                    <a:moveTo>
                      <a:pt x="22146" y="12441"/>
                    </a:moveTo>
                    <a:cubicBezTo>
                      <a:pt x="-8811" y="-11381"/>
                      <a:pt x="-5969" y="4637"/>
                      <a:pt x="22146" y="12441"/>
                    </a:cubicBezTo>
                    <a:close/>
                  </a:path>
                </a:pathLst>
              </a:custGeom>
              <a:grpFill/>
              <a:ln w="25598"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B0788517-871C-C641-A5E2-F0B495C188A0}"/>
                  </a:ext>
                </a:extLst>
              </p:cNvPr>
              <p:cNvSpPr/>
              <p:nvPr/>
            </p:nvSpPr>
            <p:spPr>
              <a:xfrm rot="-1917689">
                <a:off x="5675727" y="3196137"/>
                <a:ext cx="14798" cy="13377"/>
              </a:xfrm>
              <a:custGeom>
                <a:avLst/>
                <a:gdLst>
                  <a:gd name="connsiteX0" fmla="*/ 14779 w 14798"/>
                  <a:gd name="connsiteY0" fmla="*/ 13278 h 13377"/>
                  <a:gd name="connsiteX1" fmla="*/ 14779 w 14798"/>
                  <a:gd name="connsiteY1" fmla="*/ 13278 h 13377"/>
                </a:gdLst>
                <a:ahLst/>
                <a:cxnLst>
                  <a:cxn ang="0">
                    <a:pos x="connsiteX0" y="connsiteY0"/>
                  </a:cxn>
                  <a:cxn ang="0">
                    <a:pos x="connsiteX1" y="connsiteY1"/>
                  </a:cxn>
                </a:cxnLst>
                <a:rect l="l" t="t" r="r" b="b"/>
                <a:pathLst>
                  <a:path w="14798" h="13377">
                    <a:moveTo>
                      <a:pt x="14779" y="13278"/>
                    </a:moveTo>
                    <a:cubicBezTo>
                      <a:pt x="4365" y="-13969"/>
                      <a:pt x="-12535" y="7973"/>
                      <a:pt x="14779" y="13278"/>
                    </a:cubicBezTo>
                    <a:close/>
                  </a:path>
                </a:pathLst>
              </a:custGeom>
              <a:grpFill/>
              <a:ln w="25598" cap="flat">
                <a:noFill/>
                <a:prstDash val="solid"/>
                <a:round/>
              </a:ln>
            </p:spPr>
            <p:txBody>
              <a:bodyPr rtlCol="0" anchor="ctr"/>
              <a:lstStyle/>
              <a:p>
                <a:endParaRPr lang="en-LT"/>
              </a:p>
            </p:txBody>
          </p:sp>
          <p:sp>
            <p:nvSpPr>
              <p:cNvPr id="106" name="Freeform 105">
                <a:extLst>
                  <a:ext uri="{FF2B5EF4-FFF2-40B4-BE49-F238E27FC236}">
                    <a16:creationId xmlns:a16="http://schemas.microsoft.com/office/drawing/2014/main" id="{FE4489C5-9F75-964E-8901-D50AF11467CA}"/>
                  </a:ext>
                </a:extLst>
              </p:cNvPr>
              <p:cNvSpPr/>
              <p:nvPr/>
            </p:nvSpPr>
            <p:spPr>
              <a:xfrm rot="-1917689">
                <a:off x="5700177" y="3191848"/>
                <a:ext cx="30440" cy="24698"/>
              </a:xfrm>
              <a:custGeom>
                <a:avLst/>
                <a:gdLst>
                  <a:gd name="connsiteX0" fmla="*/ 30421 w 30440"/>
                  <a:gd name="connsiteY0" fmla="*/ 22769 h 24698"/>
                  <a:gd name="connsiteX1" fmla="*/ -20 w 30440"/>
                  <a:gd name="connsiteY1" fmla="*/ -100 h 24698"/>
                  <a:gd name="connsiteX2" fmla="*/ 30421 w 30440"/>
                  <a:gd name="connsiteY2" fmla="*/ 22769 h 24698"/>
                </a:gdLst>
                <a:ahLst/>
                <a:cxnLst>
                  <a:cxn ang="0">
                    <a:pos x="connsiteX0" y="connsiteY0"/>
                  </a:cxn>
                  <a:cxn ang="0">
                    <a:pos x="connsiteX1" y="connsiteY1"/>
                  </a:cxn>
                  <a:cxn ang="0">
                    <a:pos x="connsiteX2" y="connsiteY2"/>
                  </a:cxn>
                </a:cxnLst>
                <a:rect l="l" t="t" r="r" b="b"/>
                <a:pathLst>
                  <a:path w="30440" h="24698">
                    <a:moveTo>
                      <a:pt x="30421" y="22769"/>
                    </a:moveTo>
                    <a:cubicBezTo>
                      <a:pt x="26570" y="15146"/>
                      <a:pt x="4012" y="570"/>
                      <a:pt x="-20" y="-100"/>
                    </a:cubicBezTo>
                    <a:cubicBezTo>
                      <a:pt x="4864" y="6647"/>
                      <a:pt x="17836" y="31474"/>
                      <a:pt x="30421" y="22769"/>
                    </a:cubicBezTo>
                    <a:close/>
                  </a:path>
                </a:pathLst>
              </a:custGeom>
              <a:grpFill/>
              <a:ln w="25598" cap="flat">
                <a:noFill/>
                <a:prstDash val="solid"/>
                <a:round/>
              </a:ln>
            </p:spPr>
            <p:txBody>
              <a:bodyPr rtlCol="0" anchor="ctr"/>
              <a:lstStyle/>
              <a:p>
                <a:endParaRPr lang="en-LT"/>
              </a:p>
            </p:txBody>
          </p:sp>
          <p:sp>
            <p:nvSpPr>
              <p:cNvPr id="107" name="Freeform 106">
                <a:extLst>
                  <a:ext uri="{FF2B5EF4-FFF2-40B4-BE49-F238E27FC236}">
                    <a16:creationId xmlns:a16="http://schemas.microsoft.com/office/drawing/2014/main" id="{13A565B4-8649-6D4D-909B-219DAEB588DD}"/>
                  </a:ext>
                </a:extLst>
              </p:cNvPr>
              <p:cNvSpPr/>
              <p:nvPr/>
            </p:nvSpPr>
            <p:spPr>
              <a:xfrm rot="-1917689">
                <a:off x="5770119" y="3191559"/>
                <a:ext cx="47135" cy="29510"/>
              </a:xfrm>
              <a:custGeom>
                <a:avLst/>
                <a:gdLst>
                  <a:gd name="connsiteX0" fmla="*/ 47117 w 47135"/>
                  <a:gd name="connsiteY0" fmla="*/ 29152 h 29510"/>
                  <a:gd name="connsiteX1" fmla="*/ 2929 w 47135"/>
                  <a:gd name="connsiteY1" fmla="*/ 926 h 29510"/>
                  <a:gd name="connsiteX2" fmla="*/ 47117 w 47135"/>
                  <a:gd name="connsiteY2" fmla="*/ 29152 h 29510"/>
                </a:gdLst>
                <a:ahLst/>
                <a:cxnLst>
                  <a:cxn ang="0">
                    <a:pos x="connsiteX0" y="connsiteY0"/>
                  </a:cxn>
                  <a:cxn ang="0">
                    <a:pos x="connsiteX1" y="connsiteY1"/>
                  </a:cxn>
                  <a:cxn ang="0">
                    <a:pos x="connsiteX2" y="connsiteY2"/>
                  </a:cxn>
                </a:cxnLst>
                <a:rect l="l" t="t" r="r" b="b"/>
                <a:pathLst>
                  <a:path w="47135" h="29510">
                    <a:moveTo>
                      <a:pt x="47117" y="29152"/>
                    </a:moveTo>
                    <a:cubicBezTo>
                      <a:pt x="34403" y="21142"/>
                      <a:pt x="4997" y="2085"/>
                      <a:pt x="2929" y="926"/>
                    </a:cubicBezTo>
                    <a:cubicBezTo>
                      <a:pt x="-11179" y="-6929"/>
                      <a:pt x="28951" y="32963"/>
                      <a:pt x="47117" y="29152"/>
                    </a:cubicBezTo>
                    <a:close/>
                  </a:path>
                </a:pathLst>
              </a:custGeom>
              <a:grpFill/>
              <a:ln w="25598" cap="flat">
                <a:noFill/>
                <a:prstDash val="solid"/>
                <a:round/>
              </a:ln>
            </p:spPr>
            <p:txBody>
              <a:bodyPr rtlCol="0" anchor="ctr"/>
              <a:lstStyle/>
              <a:p>
                <a:endParaRPr lang="en-LT"/>
              </a:p>
            </p:txBody>
          </p:sp>
          <p:sp>
            <p:nvSpPr>
              <p:cNvPr id="108" name="Freeform 107">
                <a:extLst>
                  <a:ext uri="{FF2B5EF4-FFF2-40B4-BE49-F238E27FC236}">
                    <a16:creationId xmlns:a16="http://schemas.microsoft.com/office/drawing/2014/main" id="{18FC26E6-35AD-BC4E-BF82-A53B30D57D63}"/>
                  </a:ext>
                </a:extLst>
              </p:cNvPr>
              <p:cNvSpPr/>
              <p:nvPr/>
            </p:nvSpPr>
            <p:spPr>
              <a:xfrm rot="-1917689">
                <a:off x="5597240" y="3190566"/>
                <a:ext cx="68761" cy="43991"/>
              </a:xfrm>
              <a:custGeom>
                <a:avLst/>
                <a:gdLst>
                  <a:gd name="connsiteX0" fmla="*/ -20 w 68761"/>
                  <a:gd name="connsiteY0" fmla="*/ -67 h 43991"/>
                  <a:gd name="connsiteX1" fmla="*/ 68742 w 68761"/>
                  <a:gd name="connsiteY1" fmla="*/ 43894 h 43991"/>
                  <a:gd name="connsiteX2" fmla="*/ -20 w 68761"/>
                  <a:gd name="connsiteY2" fmla="*/ -67 h 43991"/>
                </a:gdLst>
                <a:ahLst/>
                <a:cxnLst>
                  <a:cxn ang="0">
                    <a:pos x="connsiteX0" y="connsiteY0"/>
                  </a:cxn>
                  <a:cxn ang="0">
                    <a:pos x="connsiteX1" y="connsiteY1"/>
                  </a:cxn>
                  <a:cxn ang="0">
                    <a:pos x="connsiteX2" y="connsiteY2"/>
                  </a:cxn>
                </a:cxnLst>
                <a:rect l="l" t="t" r="r" b="b"/>
                <a:pathLst>
                  <a:path w="68761" h="43991">
                    <a:moveTo>
                      <a:pt x="-20" y="-67"/>
                    </a:moveTo>
                    <a:cubicBezTo>
                      <a:pt x="17216" y="14380"/>
                      <a:pt x="47061" y="37352"/>
                      <a:pt x="68742" y="43894"/>
                    </a:cubicBezTo>
                    <a:cubicBezTo>
                      <a:pt x="49000" y="30708"/>
                      <a:pt x="22306" y="-1227"/>
                      <a:pt x="-20" y="-67"/>
                    </a:cubicBezTo>
                    <a:close/>
                  </a:path>
                </a:pathLst>
              </a:custGeom>
              <a:grpFill/>
              <a:ln w="25598" cap="flat">
                <a:noFill/>
                <a:prstDash val="solid"/>
                <a:round/>
              </a:ln>
            </p:spPr>
            <p:txBody>
              <a:bodyPr rtlCol="0" anchor="ctr"/>
              <a:lstStyle/>
              <a:p>
                <a:endParaRPr lang="en-LT"/>
              </a:p>
            </p:txBody>
          </p:sp>
          <p:sp>
            <p:nvSpPr>
              <p:cNvPr id="109" name="Freeform 108">
                <a:extLst>
                  <a:ext uri="{FF2B5EF4-FFF2-40B4-BE49-F238E27FC236}">
                    <a16:creationId xmlns:a16="http://schemas.microsoft.com/office/drawing/2014/main" id="{FAF20D95-870C-C74D-BEA5-333EDE8B482A}"/>
                  </a:ext>
                </a:extLst>
              </p:cNvPr>
              <p:cNvSpPr/>
              <p:nvPr/>
            </p:nvSpPr>
            <p:spPr>
              <a:xfrm rot="-1917689">
                <a:off x="5822172" y="3202226"/>
                <a:ext cx="50699" cy="28947"/>
              </a:xfrm>
              <a:custGeom>
                <a:avLst/>
                <a:gdLst>
                  <a:gd name="connsiteX0" fmla="*/ -19 w 50699"/>
                  <a:gd name="connsiteY0" fmla="*/ -102 h 28947"/>
                  <a:gd name="connsiteX1" fmla="*/ 50681 w 50699"/>
                  <a:gd name="connsiteY1" fmla="*/ 28845 h 28947"/>
                  <a:gd name="connsiteX2" fmla="*/ -19 w 50699"/>
                  <a:gd name="connsiteY2" fmla="*/ -102 h 28947"/>
                </a:gdLst>
                <a:ahLst/>
                <a:cxnLst>
                  <a:cxn ang="0">
                    <a:pos x="connsiteX0" y="connsiteY0"/>
                  </a:cxn>
                  <a:cxn ang="0">
                    <a:pos x="connsiteX1" y="connsiteY1"/>
                  </a:cxn>
                  <a:cxn ang="0">
                    <a:pos x="connsiteX2" y="connsiteY2"/>
                  </a:cxn>
                </a:cxnLst>
                <a:rect l="l" t="t" r="r" b="b"/>
                <a:pathLst>
                  <a:path w="50699" h="28947">
                    <a:moveTo>
                      <a:pt x="-19" y="-102"/>
                    </a:moveTo>
                    <a:cubicBezTo>
                      <a:pt x="16571" y="8267"/>
                      <a:pt x="35512" y="27196"/>
                      <a:pt x="50681" y="28845"/>
                    </a:cubicBezTo>
                    <a:cubicBezTo>
                      <a:pt x="46133" y="12363"/>
                      <a:pt x="14426" y="1391"/>
                      <a:pt x="-19" y="-102"/>
                    </a:cubicBezTo>
                    <a:close/>
                  </a:path>
                </a:pathLst>
              </a:custGeom>
              <a:grpFill/>
              <a:ln w="25598" cap="flat">
                <a:noFill/>
                <a:prstDash val="solid"/>
                <a:round/>
              </a:ln>
            </p:spPr>
            <p:txBody>
              <a:bodyPr rtlCol="0" anchor="ctr"/>
              <a:lstStyle/>
              <a:p>
                <a:endParaRPr lang="en-LT"/>
              </a:p>
            </p:txBody>
          </p:sp>
          <p:sp>
            <p:nvSpPr>
              <p:cNvPr id="110" name="Freeform 109">
                <a:extLst>
                  <a:ext uri="{FF2B5EF4-FFF2-40B4-BE49-F238E27FC236}">
                    <a16:creationId xmlns:a16="http://schemas.microsoft.com/office/drawing/2014/main" id="{7D6DFA84-861A-794E-AC89-94DF11E40555}"/>
                  </a:ext>
                </a:extLst>
              </p:cNvPr>
              <p:cNvSpPr/>
              <p:nvPr/>
            </p:nvSpPr>
            <p:spPr>
              <a:xfrm rot="-1917689">
                <a:off x="5919505" y="3210199"/>
                <a:ext cx="48993" cy="55583"/>
              </a:xfrm>
              <a:custGeom>
                <a:avLst/>
                <a:gdLst>
                  <a:gd name="connsiteX0" fmla="*/ 48976 w 48993"/>
                  <a:gd name="connsiteY0" fmla="*/ 21202 h 55583"/>
                  <a:gd name="connsiteX1" fmla="*/ -18 w 48993"/>
                  <a:gd name="connsiteY1" fmla="*/ 213 h 55583"/>
                  <a:gd name="connsiteX2" fmla="*/ 26908 w 48993"/>
                  <a:gd name="connsiteY2" fmla="*/ 55480 h 55583"/>
                  <a:gd name="connsiteX3" fmla="*/ 48976 w 48993"/>
                  <a:gd name="connsiteY3" fmla="*/ 21202 h 55583"/>
                </a:gdLst>
                <a:ahLst/>
                <a:cxnLst>
                  <a:cxn ang="0">
                    <a:pos x="connsiteX0" y="connsiteY0"/>
                  </a:cxn>
                  <a:cxn ang="0">
                    <a:pos x="connsiteX1" y="connsiteY1"/>
                  </a:cxn>
                  <a:cxn ang="0">
                    <a:pos x="connsiteX2" y="connsiteY2"/>
                  </a:cxn>
                  <a:cxn ang="0">
                    <a:pos x="connsiteX3" y="connsiteY3"/>
                  </a:cxn>
                </a:cxnLst>
                <a:rect l="l" t="t" r="r" b="b"/>
                <a:pathLst>
                  <a:path w="48993" h="55583">
                    <a:moveTo>
                      <a:pt x="48976" y="21202"/>
                    </a:moveTo>
                    <a:cubicBezTo>
                      <a:pt x="33058" y="16206"/>
                      <a:pt x="14091" y="-2775"/>
                      <a:pt x="-18" y="213"/>
                    </a:cubicBezTo>
                    <a:cubicBezTo>
                      <a:pt x="11869" y="18034"/>
                      <a:pt x="16727" y="37272"/>
                      <a:pt x="26908" y="55480"/>
                    </a:cubicBezTo>
                    <a:cubicBezTo>
                      <a:pt x="34221" y="44071"/>
                      <a:pt x="41611" y="32585"/>
                      <a:pt x="48976" y="21202"/>
                    </a:cubicBezTo>
                    <a:close/>
                  </a:path>
                </a:pathLst>
              </a:custGeom>
              <a:grpFill/>
              <a:ln w="25598" cap="flat">
                <a:noFill/>
                <a:prstDash val="solid"/>
                <a:round/>
              </a:ln>
            </p:spPr>
            <p:txBody>
              <a:bodyPr rtlCol="0" anchor="ctr"/>
              <a:lstStyle/>
              <a:p>
                <a:endParaRPr lang="en-LT"/>
              </a:p>
            </p:txBody>
          </p:sp>
          <p:sp>
            <p:nvSpPr>
              <p:cNvPr id="111" name="Freeform 110">
                <a:extLst>
                  <a:ext uri="{FF2B5EF4-FFF2-40B4-BE49-F238E27FC236}">
                    <a16:creationId xmlns:a16="http://schemas.microsoft.com/office/drawing/2014/main" id="{6E6A06A8-629B-B942-90DD-674BBE69E0FD}"/>
                  </a:ext>
                </a:extLst>
              </p:cNvPr>
              <p:cNvSpPr/>
              <p:nvPr/>
            </p:nvSpPr>
            <p:spPr>
              <a:xfrm rot="-1917689">
                <a:off x="5824356" y="3176492"/>
                <a:ext cx="122384" cy="189725"/>
              </a:xfrm>
              <a:custGeom>
                <a:avLst/>
                <a:gdLst>
                  <a:gd name="connsiteX0" fmla="*/ 122363 w 122384"/>
                  <a:gd name="connsiteY0" fmla="*/ 143782 h 189725"/>
                  <a:gd name="connsiteX1" fmla="*/ 90864 w 122384"/>
                  <a:gd name="connsiteY1" fmla="*/ 57971 h 189725"/>
                  <a:gd name="connsiteX2" fmla="*/ -17 w 122384"/>
                  <a:gd name="connsiteY2" fmla="*/ -103 h 189725"/>
                  <a:gd name="connsiteX3" fmla="*/ 85954 w 122384"/>
                  <a:gd name="connsiteY3" fmla="*/ 189623 h 189725"/>
                  <a:gd name="connsiteX4" fmla="*/ 122363 w 122384"/>
                  <a:gd name="connsiteY4" fmla="*/ 143782 h 18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84" h="189725">
                    <a:moveTo>
                      <a:pt x="122363" y="143782"/>
                    </a:moveTo>
                    <a:cubicBezTo>
                      <a:pt x="122699" y="112852"/>
                      <a:pt x="99675" y="86944"/>
                      <a:pt x="90864" y="57971"/>
                    </a:cubicBezTo>
                    <a:cubicBezTo>
                      <a:pt x="56806" y="40819"/>
                      <a:pt x="29544" y="11048"/>
                      <a:pt x="-17" y="-103"/>
                    </a:cubicBezTo>
                    <a:cubicBezTo>
                      <a:pt x="32464" y="62246"/>
                      <a:pt x="54584" y="126913"/>
                      <a:pt x="85954" y="189623"/>
                    </a:cubicBezTo>
                    <a:cubicBezTo>
                      <a:pt x="97660" y="177081"/>
                      <a:pt x="112880" y="135309"/>
                      <a:pt x="122363" y="143782"/>
                    </a:cubicBezTo>
                    <a:close/>
                  </a:path>
                </a:pathLst>
              </a:custGeom>
              <a:grpFill/>
              <a:ln w="25598" cap="flat">
                <a:noFill/>
                <a:prstDash val="solid"/>
                <a:round/>
              </a:ln>
            </p:spPr>
            <p:txBody>
              <a:bodyPr rtlCol="0" anchor="ctr"/>
              <a:lstStyle/>
              <a:p>
                <a:endParaRPr lang="en-LT"/>
              </a:p>
            </p:txBody>
          </p:sp>
          <p:sp>
            <p:nvSpPr>
              <p:cNvPr id="112" name="Freeform 111">
                <a:extLst>
                  <a:ext uri="{FF2B5EF4-FFF2-40B4-BE49-F238E27FC236}">
                    <a16:creationId xmlns:a16="http://schemas.microsoft.com/office/drawing/2014/main" id="{31DAE8BF-C7E1-E945-80F9-4A937C3296FC}"/>
                  </a:ext>
                </a:extLst>
              </p:cNvPr>
              <p:cNvSpPr/>
              <p:nvPr/>
            </p:nvSpPr>
            <p:spPr>
              <a:xfrm rot="-1917689">
                <a:off x="5712989" y="3218388"/>
                <a:ext cx="17713" cy="26496"/>
              </a:xfrm>
              <a:custGeom>
                <a:avLst/>
                <a:gdLst>
                  <a:gd name="connsiteX0" fmla="*/ -19 w 17713"/>
                  <a:gd name="connsiteY0" fmla="*/ -52 h 26496"/>
                  <a:gd name="connsiteX1" fmla="*/ 14219 w 17713"/>
                  <a:gd name="connsiteY1" fmla="*/ 26397 h 26496"/>
                  <a:gd name="connsiteX2" fmla="*/ -19 w 17713"/>
                  <a:gd name="connsiteY2" fmla="*/ -52 h 26496"/>
                </a:gdLst>
                <a:ahLst/>
                <a:cxnLst>
                  <a:cxn ang="0">
                    <a:pos x="connsiteX0" y="connsiteY0"/>
                  </a:cxn>
                  <a:cxn ang="0">
                    <a:pos x="connsiteX1" y="connsiteY1"/>
                  </a:cxn>
                  <a:cxn ang="0">
                    <a:pos x="connsiteX2" y="connsiteY2"/>
                  </a:cxn>
                </a:cxnLst>
                <a:rect l="l" t="t" r="r" b="b"/>
                <a:pathLst>
                  <a:path w="17713" h="26496">
                    <a:moveTo>
                      <a:pt x="-19" y="-52"/>
                    </a:moveTo>
                    <a:cubicBezTo>
                      <a:pt x="7242" y="8214"/>
                      <a:pt x="9542" y="17589"/>
                      <a:pt x="14219" y="26397"/>
                    </a:cubicBezTo>
                    <a:cubicBezTo>
                      <a:pt x="23703" y="15761"/>
                      <a:pt x="12049" y="-1108"/>
                      <a:pt x="-19" y="-52"/>
                    </a:cubicBezTo>
                    <a:close/>
                  </a:path>
                </a:pathLst>
              </a:custGeom>
              <a:grpFill/>
              <a:ln w="25598" cap="flat">
                <a:noFill/>
                <a:prstDash val="solid"/>
                <a:round/>
              </a:ln>
            </p:spPr>
            <p:txBody>
              <a:bodyPr rtlCol="0" anchor="ctr"/>
              <a:lstStyle/>
              <a:p>
                <a:endParaRPr lang="en-LT"/>
              </a:p>
            </p:txBody>
          </p:sp>
          <p:sp>
            <p:nvSpPr>
              <p:cNvPr id="113" name="Freeform 112">
                <a:extLst>
                  <a:ext uri="{FF2B5EF4-FFF2-40B4-BE49-F238E27FC236}">
                    <a16:creationId xmlns:a16="http://schemas.microsoft.com/office/drawing/2014/main" id="{0D6C51F9-A42A-7143-A1DD-B40677275C2B}"/>
                  </a:ext>
                </a:extLst>
              </p:cNvPr>
              <p:cNvSpPr/>
              <p:nvPr/>
            </p:nvSpPr>
            <p:spPr>
              <a:xfrm rot="-1917689">
                <a:off x="5683451" y="1771367"/>
                <a:ext cx="172365" cy="298678"/>
              </a:xfrm>
              <a:custGeom>
                <a:avLst/>
                <a:gdLst>
                  <a:gd name="connsiteX0" fmla="*/ 139932 w 172365"/>
                  <a:gd name="connsiteY0" fmla="*/ 120665 h 298678"/>
                  <a:gd name="connsiteX1" fmla="*/ 109311 w 172365"/>
                  <a:gd name="connsiteY1" fmla="*/ 38924 h 298678"/>
                  <a:gd name="connsiteX2" fmla="*/ 139932 w 172365"/>
                  <a:gd name="connsiteY2" fmla="*/ 120665 h 298678"/>
                  <a:gd name="connsiteX3" fmla="*/ 164119 w 172365"/>
                  <a:gd name="connsiteY3" fmla="*/ 66995 h 298678"/>
                  <a:gd name="connsiteX4" fmla="*/ -46 w 172365"/>
                  <a:gd name="connsiteY4" fmla="*/ 31198 h 298678"/>
                  <a:gd name="connsiteX5" fmla="*/ 115565 w 172365"/>
                  <a:gd name="connsiteY5" fmla="*/ 298570 h 298678"/>
                  <a:gd name="connsiteX6" fmla="*/ 132232 w 172365"/>
                  <a:gd name="connsiteY6" fmla="*/ 278122 h 298678"/>
                  <a:gd name="connsiteX7" fmla="*/ 109182 w 172365"/>
                  <a:gd name="connsiteY7" fmla="*/ 211549 h 298678"/>
                  <a:gd name="connsiteX8" fmla="*/ 136961 w 172365"/>
                  <a:gd name="connsiteY8" fmla="*/ 270731 h 298678"/>
                  <a:gd name="connsiteX9" fmla="*/ 164119 w 172365"/>
                  <a:gd name="connsiteY9" fmla="*/ 66995 h 2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65" h="298678">
                    <a:moveTo>
                      <a:pt x="139932" y="120665"/>
                    </a:moveTo>
                    <a:cubicBezTo>
                      <a:pt x="135695" y="108767"/>
                      <a:pt x="135953" y="59913"/>
                      <a:pt x="109311" y="38924"/>
                    </a:cubicBezTo>
                    <a:cubicBezTo>
                      <a:pt x="140785" y="53114"/>
                      <a:pt x="138821" y="92826"/>
                      <a:pt x="139932" y="120665"/>
                    </a:cubicBezTo>
                    <a:close/>
                    <a:moveTo>
                      <a:pt x="164119" y="66995"/>
                    </a:moveTo>
                    <a:cubicBezTo>
                      <a:pt x="142465" y="-8179"/>
                      <a:pt x="55382" y="-20309"/>
                      <a:pt x="-46" y="31198"/>
                    </a:cubicBezTo>
                    <a:cubicBezTo>
                      <a:pt x="43366" y="119275"/>
                      <a:pt x="70344" y="210931"/>
                      <a:pt x="115565" y="298570"/>
                    </a:cubicBezTo>
                    <a:cubicBezTo>
                      <a:pt x="120578" y="289196"/>
                      <a:pt x="126263" y="282887"/>
                      <a:pt x="132232" y="278122"/>
                    </a:cubicBezTo>
                    <a:cubicBezTo>
                      <a:pt x="126392" y="255536"/>
                      <a:pt x="113601" y="234419"/>
                      <a:pt x="109182" y="211549"/>
                    </a:cubicBezTo>
                    <a:cubicBezTo>
                      <a:pt x="120113" y="230916"/>
                      <a:pt x="122438" y="252214"/>
                      <a:pt x="136961" y="270731"/>
                    </a:cubicBezTo>
                    <a:cubicBezTo>
                      <a:pt x="173809" y="212502"/>
                      <a:pt x="179985" y="122391"/>
                      <a:pt x="164119" y="66995"/>
                    </a:cubicBezTo>
                    <a:close/>
                  </a:path>
                </a:pathLst>
              </a:custGeom>
              <a:grpFill/>
              <a:ln w="25598" cap="flat">
                <a:noFill/>
                <a:prstDash val="solid"/>
                <a:round/>
              </a:ln>
            </p:spPr>
            <p:txBody>
              <a:bodyPr rtlCol="0" anchor="ctr"/>
              <a:lstStyle/>
              <a:p>
                <a:endParaRPr lang="en-LT"/>
              </a:p>
            </p:txBody>
          </p:sp>
          <p:sp>
            <p:nvSpPr>
              <p:cNvPr id="114" name="Freeform 113">
                <a:extLst>
                  <a:ext uri="{FF2B5EF4-FFF2-40B4-BE49-F238E27FC236}">
                    <a16:creationId xmlns:a16="http://schemas.microsoft.com/office/drawing/2014/main" id="{DC6F8CAF-FD6C-364D-81AC-98FB404C54CF}"/>
                  </a:ext>
                </a:extLst>
              </p:cNvPr>
              <p:cNvSpPr/>
              <p:nvPr/>
            </p:nvSpPr>
            <p:spPr>
              <a:xfrm rot="-1917689">
                <a:off x="5535033" y="2320352"/>
                <a:ext cx="123646" cy="252255"/>
              </a:xfrm>
              <a:custGeom>
                <a:avLst/>
                <a:gdLst>
                  <a:gd name="connsiteX0" fmla="*/ -36 w 123646"/>
                  <a:gd name="connsiteY0" fmla="*/ 18364 h 252255"/>
                  <a:gd name="connsiteX1" fmla="*/ 95600 w 123646"/>
                  <a:gd name="connsiteY1" fmla="*/ 252154 h 252255"/>
                  <a:gd name="connsiteX2" fmla="*/ 108882 w 123646"/>
                  <a:gd name="connsiteY2" fmla="*/ 177726 h 252255"/>
                  <a:gd name="connsiteX3" fmla="*/ 118882 w 123646"/>
                  <a:gd name="connsiteY3" fmla="*/ 194466 h 252255"/>
                  <a:gd name="connsiteX4" fmla="*/ 123611 w 123646"/>
                  <a:gd name="connsiteY4" fmla="*/ 187152 h 252255"/>
                  <a:gd name="connsiteX5" fmla="*/ 36037 w 123646"/>
                  <a:gd name="connsiteY5" fmla="*/ -102 h 252255"/>
                  <a:gd name="connsiteX6" fmla="*/ -36 w 123646"/>
                  <a:gd name="connsiteY6" fmla="*/ 18364 h 25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646" h="252255">
                    <a:moveTo>
                      <a:pt x="-36" y="18364"/>
                    </a:moveTo>
                    <a:cubicBezTo>
                      <a:pt x="39190" y="94697"/>
                      <a:pt x="59837" y="175099"/>
                      <a:pt x="95600" y="252154"/>
                    </a:cubicBezTo>
                    <a:cubicBezTo>
                      <a:pt x="109631" y="225293"/>
                      <a:pt x="121285" y="198895"/>
                      <a:pt x="108882" y="177726"/>
                    </a:cubicBezTo>
                    <a:cubicBezTo>
                      <a:pt x="114618" y="182799"/>
                      <a:pt x="111595" y="189830"/>
                      <a:pt x="118882" y="194466"/>
                    </a:cubicBezTo>
                    <a:cubicBezTo>
                      <a:pt x="120458" y="192045"/>
                      <a:pt x="122035" y="189599"/>
                      <a:pt x="123611" y="187152"/>
                    </a:cubicBezTo>
                    <a:cubicBezTo>
                      <a:pt x="96892" y="124210"/>
                      <a:pt x="72059" y="60857"/>
                      <a:pt x="36037" y="-102"/>
                    </a:cubicBezTo>
                    <a:cubicBezTo>
                      <a:pt x="24590" y="8526"/>
                      <a:pt x="10791" y="6491"/>
                      <a:pt x="-36" y="18364"/>
                    </a:cubicBezTo>
                    <a:close/>
                  </a:path>
                </a:pathLst>
              </a:custGeom>
              <a:grpFill/>
              <a:ln w="25598" cap="flat">
                <a:noFill/>
                <a:prstDash val="solid"/>
                <a:round/>
              </a:ln>
            </p:spPr>
            <p:txBody>
              <a:bodyPr rtlCol="0" anchor="ctr"/>
              <a:lstStyle/>
              <a:p>
                <a:endParaRPr lang="en-LT"/>
              </a:p>
            </p:txBody>
          </p:sp>
          <p:sp>
            <p:nvSpPr>
              <p:cNvPr id="115" name="Freeform 114">
                <a:extLst>
                  <a:ext uri="{FF2B5EF4-FFF2-40B4-BE49-F238E27FC236}">
                    <a16:creationId xmlns:a16="http://schemas.microsoft.com/office/drawing/2014/main" id="{EE308A4D-0D01-FF47-A417-EEB83B1BF00D}"/>
                  </a:ext>
                </a:extLst>
              </p:cNvPr>
              <p:cNvSpPr/>
              <p:nvPr/>
            </p:nvSpPr>
            <p:spPr>
              <a:xfrm rot="-1917689">
                <a:off x="5853419" y="2498660"/>
                <a:ext cx="12474" cy="47575"/>
              </a:xfrm>
              <a:custGeom>
                <a:avLst/>
                <a:gdLst>
                  <a:gd name="connsiteX0" fmla="*/ 10407 w 12474"/>
                  <a:gd name="connsiteY0" fmla="*/ 37622 h 47575"/>
                  <a:gd name="connsiteX1" fmla="*/ -33 w 12474"/>
                  <a:gd name="connsiteY1" fmla="*/ -107 h 47575"/>
                  <a:gd name="connsiteX2" fmla="*/ 10407 w 12474"/>
                  <a:gd name="connsiteY2" fmla="*/ 37622 h 47575"/>
                </a:gdLst>
                <a:ahLst/>
                <a:cxnLst>
                  <a:cxn ang="0">
                    <a:pos x="connsiteX0" y="connsiteY0"/>
                  </a:cxn>
                  <a:cxn ang="0">
                    <a:pos x="connsiteX1" y="connsiteY1"/>
                  </a:cxn>
                  <a:cxn ang="0">
                    <a:pos x="connsiteX2" y="connsiteY2"/>
                  </a:cxn>
                </a:cxnLst>
                <a:rect l="l" t="t" r="r" b="b"/>
                <a:pathLst>
                  <a:path w="12474" h="47575">
                    <a:moveTo>
                      <a:pt x="10407" y="37622"/>
                    </a:moveTo>
                    <a:cubicBezTo>
                      <a:pt x="8598" y="30334"/>
                      <a:pt x="7332" y="15345"/>
                      <a:pt x="-33" y="-107"/>
                    </a:cubicBezTo>
                    <a:cubicBezTo>
                      <a:pt x="794" y="15525"/>
                      <a:pt x="18288" y="69376"/>
                      <a:pt x="10407" y="37622"/>
                    </a:cubicBezTo>
                    <a:close/>
                  </a:path>
                </a:pathLst>
              </a:custGeom>
              <a:grpFill/>
              <a:ln w="25598" cap="flat">
                <a:noFill/>
                <a:prstDash val="solid"/>
                <a:round/>
              </a:ln>
            </p:spPr>
            <p:txBody>
              <a:bodyPr rtlCol="0" anchor="ctr"/>
              <a:lstStyle/>
              <a:p>
                <a:endParaRPr lang="en-LT"/>
              </a:p>
            </p:txBody>
          </p:sp>
          <p:sp>
            <p:nvSpPr>
              <p:cNvPr id="116" name="Freeform 115">
                <a:extLst>
                  <a:ext uri="{FF2B5EF4-FFF2-40B4-BE49-F238E27FC236}">
                    <a16:creationId xmlns:a16="http://schemas.microsoft.com/office/drawing/2014/main" id="{11A9D824-A699-314B-9EA6-2836E50458E5}"/>
                  </a:ext>
                </a:extLst>
              </p:cNvPr>
              <p:cNvSpPr/>
              <p:nvPr/>
            </p:nvSpPr>
            <p:spPr>
              <a:xfrm rot="-1917689">
                <a:off x="5773209" y="2467034"/>
                <a:ext cx="144009" cy="324571"/>
              </a:xfrm>
              <a:custGeom>
                <a:avLst/>
                <a:gdLst>
                  <a:gd name="connsiteX0" fmla="*/ 102375 w 144009"/>
                  <a:gd name="connsiteY0" fmla="*/ 234998 h 324571"/>
                  <a:gd name="connsiteX1" fmla="*/ 89765 w 144009"/>
                  <a:gd name="connsiteY1" fmla="*/ 206154 h 324571"/>
                  <a:gd name="connsiteX2" fmla="*/ 99352 w 144009"/>
                  <a:gd name="connsiteY2" fmla="*/ 201982 h 324571"/>
                  <a:gd name="connsiteX3" fmla="*/ 102375 w 144009"/>
                  <a:gd name="connsiteY3" fmla="*/ 234998 h 324571"/>
                  <a:gd name="connsiteX4" fmla="*/ 143979 w 144009"/>
                  <a:gd name="connsiteY4" fmla="*/ 251223 h 324571"/>
                  <a:gd name="connsiteX5" fmla="*/ 114288 w 144009"/>
                  <a:gd name="connsiteY5" fmla="*/ 173524 h 324571"/>
                  <a:gd name="connsiteX6" fmla="*/ 79791 w 144009"/>
                  <a:gd name="connsiteY6" fmla="*/ 103114 h 324571"/>
                  <a:gd name="connsiteX7" fmla="*/ 113771 w 144009"/>
                  <a:gd name="connsiteY7" fmla="*/ 190470 h 324571"/>
                  <a:gd name="connsiteX8" fmla="*/ 31831 w 144009"/>
                  <a:gd name="connsiteY8" fmla="*/ -106 h 324571"/>
                  <a:gd name="connsiteX9" fmla="*/ -31 w 144009"/>
                  <a:gd name="connsiteY9" fmla="*/ 27888 h 324571"/>
                  <a:gd name="connsiteX10" fmla="*/ 107259 w 144009"/>
                  <a:gd name="connsiteY10" fmla="*/ 324465 h 324571"/>
                  <a:gd name="connsiteX11" fmla="*/ 143979 w 144009"/>
                  <a:gd name="connsiteY11" fmla="*/ 251223 h 32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09" h="324571">
                    <a:moveTo>
                      <a:pt x="102375" y="234998"/>
                    </a:moveTo>
                    <a:cubicBezTo>
                      <a:pt x="98396" y="225340"/>
                      <a:pt x="96070" y="215348"/>
                      <a:pt x="89765" y="206154"/>
                    </a:cubicBezTo>
                    <a:cubicBezTo>
                      <a:pt x="92711" y="203553"/>
                      <a:pt x="96484" y="205098"/>
                      <a:pt x="99352" y="201982"/>
                    </a:cubicBezTo>
                    <a:cubicBezTo>
                      <a:pt x="103771" y="212258"/>
                      <a:pt x="105967" y="222997"/>
                      <a:pt x="102375" y="234998"/>
                    </a:cubicBezTo>
                    <a:close/>
                    <a:moveTo>
                      <a:pt x="143979" y="251223"/>
                    </a:moveTo>
                    <a:cubicBezTo>
                      <a:pt x="136381" y="227349"/>
                      <a:pt x="124081" y="199793"/>
                      <a:pt x="114288" y="173524"/>
                    </a:cubicBezTo>
                    <a:cubicBezTo>
                      <a:pt x="105114" y="149007"/>
                      <a:pt x="100721" y="110351"/>
                      <a:pt x="79791" y="103114"/>
                    </a:cubicBezTo>
                    <a:cubicBezTo>
                      <a:pt x="92866" y="131803"/>
                      <a:pt x="105450" y="160673"/>
                      <a:pt x="113771" y="190470"/>
                    </a:cubicBezTo>
                    <a:cubicBezTo>
                      <a:pt x="85760" y="127091"/>
                      <a:pt x="63873" y="62398"/>
                      <a:pt x="31831" y="-106"/>
                    </a:cubicBezTo>
                    <a:cubicBezTo>
                      <a:pt x="21546" y="10891"/>
                      <a:pt x="11546" y="23175"/>
                      <a:pt x="-31" y="27888"/>
                    </a:cubicBezTo>
                    <a:cubicBezTo>
                      <a:pt x="38834" y="126035"/>
                      <a:pt x="71108" y="225701"/>
                      <a:pt x="107259" y="324465"/>
                    </a:cubicBezTo>
                    <a:cubicBezTo>
                      <a:pt x="119585" y="300051"/>
                      <a:pt x="132040" y="275585"/>
                      <a:pt x="143979" y="251223"/>
                    </a:cubicBezTo>
                    <a:close/>
                  </a:path>
                </a:pathLst>
              </a:custGeom>
              <a:grpFill/>
              <a:ln w="25598" cap="flat">
                <a:noFill/>
                <a:prstDash val="solid"/>
                <a:round/>
              </a:ln>
            </p:spPr>
            <p:txBody>
              <a:bodyPr rtlCol="0" anchor="ctr"/>
              <a:lstStyle/>
              <a:p>
                <a:endParaRPr lang="en-LT"/>
              </a:p>
            </p:txBody>
          </p:sp>
          <p:sp>
            <p:nvSpPr>
              <p:cNvPr id="117" name="Freeform 116">
                <a:extLst>
                  <a:ext uri="{FF2B5EF4-FFF2-40B4-BE49-F238E27FC236}">
                    <a16:creationId xmlns:a16="http://schemas.microsoft.com/office/drawing/2014/main" id="{207528CA-A84E-3745-AEFA-8C82120E878B}"/>
                  </a:ext>
                </a:extLst>
              </p:cNvPr>
              <p:cNvSpPr/>
              <p:nvPr/>
            </p:nvSpPr>
            <p:spPr>
              <a:xfrm rot="-1917689">
                <a:off x="5991541" y="2671545"/>
                <a:ext cx="16873" cy="38372"/>
              </a:xfrm>
              <a:custGeom>
                <a:avLst/>
                <a:gdLst>
                  <a:gd name="connsiteX0" fmla="*/ 16845 w 16873"/>
                  <a:gd name="connsiteY0" fmla="*/ 38264 h 38372"/>
                  <a:gd name="connsiteX1" fmla="*/ -28 w 16873"/>
                  <a:gd name="connsiteY1" fmla="*/ -109 h 38372"/>
                  <a:gd name="connsiteX2" fmla="*/ 16845 w 16873"/>
                  <a:gd name="connsiteY2" fmla="*/ 38264 h 38372"/>
                </a:gdLst>
                <a:ahLst/>
                <a:cxnLst>
                  <a:cxn ang="0">
                    <a:pos x="connsiteX0" y="connsiteY0"/>
                  </a:cxn>
                  <a:cxn ang="0">
                    <a:pos x="connsiteX1" y="connsiteY1"/>
                  </a:cxn>
                  <a:cxn ang="0">
                    <a:pos x="connsiteX2" y="connsiteY2"/>
                  </a:cxn>
                </a:cxnLst>
                <a:rect l="l" t="t" r="r" b="b"/>
                <a:pathLst>
                  <a:path w="16873" h="38372">
                    <a:moveTo>
                      <a:pt x="16845" y="38264"/>
                    </a:moveTo>
                    <a:cubicBezTo>
                      <a:pt x="9610" y="27216"/>
                      <a:pt x="11445" y="3085"/>
                      <a:pt x="-28" y="-109"/>
                    </a:cubicBezTo>
                    <a:cubicBezTo>
                      <a:pt x="6096" y="11223"/>
                      <a:pt x="9248" y="34247"/>
                      <a:pt x="16845" y="38264"/>
                    </a:cubicBezTo>
                    <a:close/>
                  </a:path>
                </a:pathLst>
              </a:custGeom>
              <a:grpFill/>
              <a:ln w="25598" cap="flat">
                <a:noFill/>
                <a:prstDash val="solid"/>
                <a:round/>
              </a:ln>
            </p:spPr>
            <p:txBody>
              <a:bodyPr rtlCol="0" anchor="ctr"/>
              <a:lstStyle/>
              <a:p>
                <a:endParaRPr lang="en-LT"/>
              </a:p>
            </p:txBody>
          </p:sp>
          <p:sp>
            <p:nvSpPr>
              <p:cNvPr id="118" name="Freeform 117">
                <a:extLst>
                  <a:ext uri="{FF2B5EF4-FFF2-40B4-BE49-F238E27FC236}">
                    <a16:creationId xmlns:a16="http://schemas.microsoft.com/office/drawing/2014/main" id="{D119AF6F-DB6A-8344-A87B-89ABB8259029}"/>
                  </a:ext>
                </a:extLst>
              </p:cNvPr>
              <p:cNvSpPr/>
              <p:nvPr/>
            </p:nvSpPr>
            <p:spPr>
              <a:xfrm rot="-1917689">
                <a:off x="5200568" y="2999564"/>
                <a:ext cx="1228017" cy="1141935"/>
              </a:xfrm>
              <a:custGeom>
                <a:avLst/>
                <a:gdLst>
                  <a:gd name="connsiteX0" fmla="*/ 629954 w 1228017"/>
                  <a:gd name="connsiteY0" fmla="*/ 970395 h 1141935"/>
                  <a:gd name="connsiteX1" fmla="*/ 870090 w 1228017"/>
                  <a:gd name="connsiteY1" fmla="*/ 591870 h 1141935"/>
                  <a:gd name="connsiteX2" fmla="*/ 906783 w 1228017"/>
                  <a:gd name="connsiteY2" fmla="*/ 604953 h 1141935"/>
                  <a:gd name="connsiteX3" fmla="*/ 629954 w 1228017"/>
                  <a:gd name="connsiteY3" fmla="*/ 970395 h 1141935"/>
                  <a:gd name="connsiteX4" fmla="*/ 649877 w 1228017"/>
                  <a:gd name="connsiteY4" fmla="*/ 858728 h 1141935"/>
                  <a:gd name="connsiteX5" fmla="*/ 633391 w 1228017"/>
                  <a:gd name="connsiteY5" fmla="*/ 889761 h 1141935"/>
                  <a:gd name="connsiteX6" fmla="*/ 649877 w 1228017"/>
                  <a:gd name="connsiteY6" fmla="*/ 858728 h 1141935"/>
                  <a:gd name="connsiteX7" fmla="*/ 725435 w 1228017"/>
                  <a:gd name="connsiteY7" fmla="*/ 741292 h 1141935"/>
                  <a:gd name="connsiteX8" fmla="*/ 704297 w 1228017"/>
                  <a:gd name="connsiteY8" fmla="*/ 779510 h 1141935"/>
                  <a:gd name="connsiteX9" fmla="*/ 725435 w 1228017"/>
                  <a:gd name="connsiteY9" fmla="*/ 741292 h 1141935"/>
                  <a:gd name="connsiteX10" fmla="*/ 774092 w 1228017"/>
                  <a:gd name="connsiteY10" fmla="*/ 654889 h 1141935"/>
                  <a:gd name="connsiteX11" fmla="*/ 834817 w 1228017"/>
                  <a:gd name="connsiteY11" fmla="*/ 565911 h 1141935"/>
                  <a:gd name="connsiteX12" fmla="*/ 749105 w 1228017"/>
                  <a:gd name="connsiteY12" fmla="*/ 704516 h 1141935"/>
                  <a:gd name="connsiteX13" fmla="*/ 774092 w 1228017"/>
                  <a:gd name="connsiteY13" fmla="*/ 654889 h 1141935"/>
                  <a:gd name="connsiteX14" fmla="*/ 897636 w 1228017"/>
                  <a:gd name="connsiteY14" fmla="*/ 505853 h 1141935"/>
                  <a:gd name="connsiteX15" fmla="*/ 945777 w 1228017"/>
                  <a:gd name="connsiteY15" fmla="*/ 522799 h 1141935"/>
                  <a:gd name="connsiteX16" fmla="*/ 919187 w 1228017"/>
                  <a:gd name="connsiteY16" fmla="*/ 574898 h 1141935"/>
                  <a:gd name="connsiteX17" fmla="*/ 873216 w 1228017"/>
                  <a:gd name="connsiteY17" fmla="*/ 538560 h 1141935"/>
                  <a:gd name="connsiteX18" fmla="*/ 897636 w 1228017"/>
                  <a:gd name="connsiteY18" fmla="*/ 505853 h 1141935"/>
                  <a:gd name="connsiteX19" fmla="*/ 904638 w 1228017"/>
                  <a:gd name="connsiteY19" fmla="*/ 759088 h 1141935"/>
                  <a:gd name="connsiteX20" fmla="*/ 922675 w 1228017"/>
                  <a:gd name="connsiteY20" fmla="*/ 725660 h 1141935"/>
                  <a:gd name="connsiteX21" fmla="*/ 904638 w 1228017"/>
                  <a:gd name="connsiteY21" fmla="*/ 759088 h 1141935"/>
                  <a:gd name="connsiteX22" fmla="*/ 698431 w 1228017"/>
                  <a:gd name="connsiteY22" fmla="*/ 1041835 h 1141935"/>
                  <a:gd name="connsiteX23" fmla="*/ 736598 w 1228017"/>
                  <a:gd name="connsiteY23" fmla="*/ 1004055 h 1141935"/>
                  <a:gd name="connsiteX24" fmla="*/ 698431 w 1228017"/>
                  <a:gd name="connsiteY24" fmla="*/ 1041835 h 1141935"/>
                  <a:gd name="connsiteX25" fmla="*/ 595405 w 1228017"/>
                  <a:gd name="connsiteY25" fmla="*/ 937997 h 1141935"/>
                  <a:gd name="connsiteX26" fmla="*/ 605535 w 1228017"/>
                  <a:gd name="connsiteY26" fmla="*/ 916828 h 1141935"/>
                  <a:gd name="connsiteX27" fmla="*/ 595405 w 1228017"/>
                  <a:gd name="connsiteY27" fmla="*/ 937997 h 1141935"/>
                  <a:gd name="connsiteX28" fmla="*/ 538272 w 1228017"/>
                  <a:gd name="connsiteY28" fmla="*/ 638870 h 1141935"/>
                  <a:gd name="connsiteX29" fmla="*/ 554706 w 1228017"/>
                  <a:gd name="connsiteY29" fmla="*/ 607966 h 1141935"/>
                  <a:gd name="connsiteX30" fmla="*/ 538272 w 1228017"/>
                  <a:gd name="connsiteY30" fmla="*/ 638870 h 1141935"/>
                  <a:gd name="connsiteX31" fmla="*/ 366019 w 1228017"/>
                  <a:gd name="connsiteY31" fmla="*/ 1057390 h 1141935"/>
                  <a:gd name="connsiteX32" fmla="*/ 388371 w 1228017"/>
                  <a:gd name="connsiteY32" fmla="*/ 995659 h 1141935"/>
                  <a:gd name="connsiteX33" fmla="*/ 366019 w 1228017"/>
                  <a:gd name="connsiteY33" fmla="*/ 1057390 h 1141935"/>
                  <a:gd name="connsiteX34" fmla="*/ 545688 w 1228017"/>
                  <a:gd name="connsiteY34" fmla="*/ 422541 h 1141935"/>
                  <a:gd name="connsiteX35" fmla="*/ 532458 w 1228017"/>
                  <a:gd name="connsiteY35" fmla="*/ 448578 h 1141935"/>
                  <a:gd name="connsiteX36" fmla="*/ 545688 w 1228017"/>
                  <a:gd name="connsiteY36" fmla="*/ 422541 h 1141935"/>
                  <a:gd name="connsiteX37" fmla="*/ 667965 w 1228017"/>
                  <a:gd name="connsiteY37" fmla="*/ 286459 h 1141935"/>
                  <a:gd name="connsiteX38" fmla="*/ 671480 w 1228017"/>
                  <a:gd name="connsiteY38" fmla="*/ 302530 h 1141935"/>
                  <a:gd name="connsiteX39" fmla="*/ 649050 w 1228017"/>
                  <a:gd name="connsiteY39" fmla="*/ 315844 h 1141935"/>
                  <a:gd name="connsiteX40" fmla="*/ 667965 w 1228017"/>
                  <a:gd name="connsiteY40" fmla="*/ 286459 h 1141935"/>
                  <a:gd name="connsiteX41" fmla="*/ 798486 w 1228017"/>
                  <a:gd name="connsiteY41" fmla="*/ 977992 h 1141935"/>
                  <a:gd name="connsiteX42" fmla="*/ 986449 w 1228017"/>
                  <a:gd name="connsiteY42" fmla="*/ 718036 h 1141935"/>
                  <a:gd name="connsiteX43" fmla="*/ 943890 w 1228017"/>
                  <a:gd name="connsiteY43" fmla="*/ 601064 h 1141935"/>
                  <a:gd name="connsiteX44" fmla="*/ 1008827 w 1228017"/>
                  <a:gd name="connsiteY44" fmla="*/ 473224 h 1141935"/>
                  <a:gd name="connsiteX45" fmla="*/ 1035495 w 1228017"/>
                  <a:gd name="connsiteY45" fmla="*/ 469567 h 1141935"/>
                  <a:gd name="connsiteX46" fmla="*/ 1228006 w 1228017"/>
                  <a:gd name="connsiteY46" fmla="*/ 143476 h 1141935"/>
                  <a:gd name="connsiteX47" fmla="*/ 1181700 w 1228017"/>
                  <a:gd name="connsiteY47" fmla="*/ -100 h 1141935"/>
                  <a:gd name="connsiteX48" fmla="*/ 1067950 w 1228017"/>
                  <a:gd name="connsiteY48" fmla="*/ 203585 h 1141935"/>
                  <a:gd name="connsiteX49" fmla="*/ 1105419 w 1228017"/>
                  <a:gd name="connsiteY49" fmla="*/ 307011 h 1141935"/>
                  <a:gd name="connsiteX50" fmla="*/ 1064126 w 1228017"/>
                  <a:gd name="connsiteY50" fmla="*/ 214916 h 1141935"/>
                  <a:gd name="connsiteX51" fmla="*/ 1027200 w 1228017"/>
                  <a:gd name="connsiteY51" fmla="*/ 277703 h 1141935"/>
                  <a:gd name="connsiteX52" fmla="*/ 1066219 w 1228017"/>
                  <a:gd name="connsiteY52" fmla="*/ 378683 h 1141935"/>
                  <a:gd name="connsiteX53" fmla="*/ 1020921 w 1228017"/>
                  <a:gd name="connsiteY53" fmla="*/ 287490 h 1141935"/>
                  <a:gd name="connsiteX54" fmla="*/ 1018957 w 1228017"/>
                  <a:gd name="connsiteY54" fmla="*/ 317364 h 1141935"/>
                  <a:gd name="connsiteX55" fmla="*/ 1008336 w 1228017"/>
                  <a:gd name="connsiteY55" fmla="*/ 307088 h 1141935"/>
                  <a:gd name="connsiteX56" fmla="*/ 1038751 w 1228017"/>
                  <a:gd name="connsiteY56" fmla="*/ 426739 h 1141935"/>
                  <a:gd name="connsiteX57" fmla="*/ 992548 w 1228017"/>
                  <a:gd name="connsiteY57" fmla="*/ 331580 h 1141935"/>
                  <a:gd name="connsiteX58" fmla="*/ 928799 w 1228017"/>
                  <a:gd name="connsiteY58" fmla="*/ 435933 h 1141935"/>
                  <a:gd name="connsiteX59" fmla="*/ 930918 w 1228017"/>
                  <a:gd name="connsiteY59" fmla="*/ 464931 h 1141935"/>
                  <a:gd name="connsiteX60" fmla="*/ 912029 w 1228017"/>
                  <a:gd name="connsiteY60" fmla="*/ 445925 h 1141935"/>
                  <a:gd name="connsiteX61" fmla="*/ 847092 w 1228017"/>
                  <a:gd name="connsiteY61" fmla="*/ 525349 h 1141935"/>
                  <a:gd name="connsiteX62" fmla="*/ 800682 w 1228017"/>
                  <a:gd name="connsiteY62" fmla="*/ 554399 h 1141935"/>
                  <a:gd name="connsiteX63" fmla="*/ 549978 w 1228017"/>
                  <a:gd name="connsiteY63" fmla="*/ 933207 h 1141935"/>
                  <a:gd name="connsiteX64" fmla="*/ 542665 w 1228017"/>
                  <a:gd name="connsiteY64" fmla="*/ 928468 h 1141935"/>
                  <a:gd name="connsiteX65" fmla="*/ 831122 w 1228017"/>
                  <a:gd name="connsiteY65" fmla="*/ 490968 h 1141935"/>
                  <a:gd name="connsiteX66" fmla="*/ 729543 w 1228017"/>
                  <a:gd name="connsiteY66" fmla="*/ 287850 h 1141935"/>
                  <a:gd name="connsiteX67" fmla="*/ 378448 w 1228017"/>
                  <a:gd name="connsiteY67" fmla="*/ 844203 h 1141935"/>
                  <a:gd name="connsiteX68" fmla="*/ 299299 w 1228017"/>
                  <a:gd name="connsiteY68" fmla="*/ 810903 h 1141935"/>
                  <a:gd name="connsiteX69" fmla="*/ 709698 w 1228017"/>
                  <a:gd name="connsiteY69" fmla="*/ 264801 h 1141935"/>
                  <a:gd name="connsiteX70" fmla="*/ 610496 w 1228017"/>
                  <a:gd name="connsiteY70" fmla="*/ 149554 h 1141935"/>
                  <a:gd name="connsiteX71" fmla="*/ 128519 w 1228017"/>
                  <a:gd name="connsiteY71" fmla="*/ 763929 h 1141935"/>
                  <a:gd name="connsiteX72" fmla="*/ -11 w 1228017"/>
                  <a:gd name="connsiteY72" fmla="*/ 775081 h 1141935"/>
                  <a:gd name="connsiteX73" fmla="*/ 121491 w 1228017"/>
                  <a:gd name="connsiteY73" fmla="*/ 780231 h 1141935"/>
                  <a:gd name="connsiteX74" fmla="*/ 112421 w 1228017"/>
                  <a:gd name="connsiteY74" fmla="*/ 815823 h 1141935"/>
                  <a:gd name="connsiteX75" fmla="*/ 29989 w 1228017"/>
                  <a:gd name="connsiteY75" fmla="*/ 960068 h 1141935"/>
                  <a:gd name="connsiteX76" fmla="*/ 77174 w 1228017"/>
                  <a:gd name="connsiteY76" fmla="*/ 972970 h 1141935"/>
                  <a:gd name="connsiteX77" fmla="*/ 209736 w 1228017"/>
                  <a:gd name="connsiteY77" fmla="*/ 874618 h 1141935"/>
                  <a:gd name="connsiteX78" fmla="*/ 229400 w 1228017"/>
                  <a:gd name="connsiteY78" fmla="*/ 887211 h 1141935"/>
                  <a:gd name="connsiteX79" fmla="*/ 288265 w 1228017"/>
                  <a:gd name="connsiteY79" fmla="*/ 828055 h 1141935"/>
                  <a:gd name="connsiteX80" fmla="*/ 372996 w 1228017"/>
                  <a:gd name="connsiteY80" fmla="*/ 858032 h 1141935"/>
                  <a:gd name="connsiteX81" fmla="*/ 329455 w 1228017"/>
                  <a:gd name="connsiteY81" fmla="*/ 958008 h 1141935"/>
                  <a:gd name="connsiteX82" fmla="*/ 347517 w 1228017"/>
                  <a:gd name="connsiteY82" fmla="*/ 973022 h 1141935"/>
                  <a:gd name="connsiteX83" fmla="*/ 317594 w 1228017"/>
                  <a:gd name="connsiteY83" fmla="*/ 1067898 h 1141935"/>
                  <a:gd name="connsiteX84" fmla="*/ 97071 w 1228017"/>
                  <a:gd name="connsiteY84" fmla="*/ 1044385 h 1141935"/>
                  <a:gd name="connsiteX85" fmla="*/ 270022 w 1228017"/>
                  <a:gd name="connsiteY85" fmla="*/ 1071992 h 1141935"/>
                  <a:gd name="connsiteX86" fmla="*/ 319791 w 1228017"/>
                  <a:gd name="connsiteY86" fmla="*/ 1096948 h 1141935"/>
                  <a:gd name="connsiteX87" fmla="*/ 240719 w 1228017"/>
                  <a:gd name="connsiteY87" fmla="*/ 1112091 h 1141935"/>
                  <a:gd name="connsiteX88" fmla="*/ 335993 w 1228017"/>
                  <a:gd name="connsiteY88" fmla="*/ 1141836 h 1141935"/>
                  <a:gd name="connsiteX89" fmla="*/ 454885 w 1228017"/>
                  <a:gd name="connsiteY89" fmla="*/ 1134908 h 1141935"/>
                  <a:gd name="connsiteX90" fmla="*/ 427132 w 1228017"/>
                  <a:gd name="connsiteY90" fmla="*/ 1124092 h 1141935"/>
                  <a:gd name="connsiteX91" fmla="*/ 567032 w 1228017"/>
                  <a:gd name="connsiteY91" fmla="*/ 1116752 h 1141935"/>
                  <a:gd name="connsiteX92" fmla="*/ 408682 w 1228017"/>
                  <a:gd name="connsiteY92" fmla="*/ 1088140 h 1141935"/>
                  <a:gd name="connsiteX93" fmla="*/ 437520 w 1228017"/>
                  <a:gd name="connsiteY93" fmla="*/ 1027078 h 1141935"/>
                  <a:gd name="connsiteX94" fmla="*/ 456978 w 1228017"/>
                  <a:gd name="connsiteY94" fmla="*/ 1029190 h 1141935"/>
                  <a:gd name="connsiteX95" fmla="*/ 537910 w 1228017"/>
                  <a:gd name="connsiteY95" fmla="*/ 935885 h 1141935"/>
                  <a:gd name="connsiteX96" fmla="*/ 577730 w 1228017"/>
                  <a:gd name="connsiteY96" fmla="*/ 992363 h 1141935"/>
                  <a:gd name="connsiteX97" fmla="*/ 621659 w 1228017"/>
                  <a:gd name="connsiteY97" fmla="*/ 1048042 h 1141935"/>
                  <a:gd name="connsiteX98" fmla="*/ 798486 w 1228017"/>
                  <a:gd name="connsiteY98" fmla="*/ 977992 h 11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28017" h="1141935">
                    <a:moveTo>
                      <a:pt x="629954" y="970395"/>
                    </a:moveTo>
                    <a:cubicBezTo>
                      <a:pt x="714504" y="843559"/>
                      <a:pt x="790630" y="711057"/>
                      <a:pt x="870090" y="591870"/>
                    </a:cubicBezTo>
                    <a:cubicBezTo>
                      <a:pt x="877919" y="576238"/>
                      <a:pt x="894793" y="601682"/>
                      <a:pt x="906783" y="604953"/>
                    </a:cubicBezTo>
                    <a:cubicBezTo>
                      <a:pt x="810605" y="708945"/>
                      <a:pt x="734530" y="904646"/>
                      <a:pt x="629954" y="970395"/>
                    </a:cubicBezTo>
                    <a:close/>
                    <a:moveTo>
                      <a:pt x="649877" y="858728"/>
                    </a:moveTo>
                    <a:cubicBezTo>
                      <a:pt x="657293" y="857955"/>
                      <a:pt x="637499" y="881030"/>
                      <a:pt x="633391" y="889761"/>
                    </a:cubicBezTo>
                    <a:cubicBezTo>
                      <a:pt x="625923" y="890534"/>
                      <a:pt x="645743" y="867484"/>
                      <a:pt x="649877" y="858728"/>
                    </a:cubicBezTo>
                    <a:close/>
                    <a:moveTo>
                      <a:pt x="725435" y="741292"/>
                    </a:moveTo>
                    <a:cubicBezTo>
                      <a:pt x="731766" y="742734"/>
                      <a:pt x="709672" y="768513"/>
                      <a:pt x="704297" y="779510"/>
                    </a:cubicBezTo>
                    <a:cubicBezTo>
                      <a:pt x="697966" y="777991"/>
                      <a:pt x="720060" y="752314"/>
                      <a:pt x="725435" y="741292"/>
                    </a:cubicBezTo>
                    <a:close/>
                    <a:moveTo>
                      <a:pt x="774092" y="654889"/>
                    </a:moveTo>
                    <a:cubicBezTo>
                      <a:pt x="789364" y="628620"/>
                      <a:pt x="814352" y="591201"/>
                      <a:pt x="834817" y="565911"/>
                    </a:cubicBezTo>
                    <a:cubicBezTo>
                      <a:pt x="817479" y="593492"/>
                      <a:pt x="767038" y="679381"/>
                      <a:pt x="749105" y="704516"/>
                    </a:cubicBezTo>
                    <a:cubicBezTo>
                      <a:pt x="714814" y="752572"/>
                      <a:pt x="767296" y="666478"/>
                      <a:pt x="774092" y="654889"/>
                    </a:cubicBezTo>
                    <a:close/>
                    <a:moveTo>
                      <a:pt x="897636" y="505853"/>
                    </a:moveTo>
                    <a:cubicBezTo>
                      <a:pt x="915130" y="517829"/>
                      <a:pt x="931952" y="527306"/>
                      <a:pt x="945777" y="522799"/>
                    </a:cubicBezTo>
                    <a:cubicBezTo>
                      <a:pt x="951332" y="536964"/>
                      <a:pt x="926525" y="557824"/>
                      <a:pt x="919187" y="574898"/>
                    </a:cubicBezTo>
                    <a:cubicBezTo>
                      <a:pt x="900995" y="563387"/>
                      <a:pt x="887765" y="550793"/>
                      <a:pt x="873216" y="538560"/>
                    </a:cubicBezTo>
                    <a:cubicBezTo>
                      <a:pt x="880659" y="524267"/>
                      <a:pt x="889470" y="516387"/>
                      <a:pt x="897636" y="505853"/>
                    </a:cubicBezTo>
                    <a:close/>
                    <a:moveTo>
                      <a:pt x="904638" y="759088"/>
                    </a:moveTo>
                    <a:cubicBezTo>
                      <a:pt x="903527" y="748786"/>
                      <a:pt x="912804" y="732252"/>
                      <a:pt x="922675" y="725660"/>
                    </a:cubicBezTo>
                    <a:cubicBezTo>
                      <a:pt x="924587" y="735060"/>
                      <a:pt x="909367" y="748168"/>
                      <a:pt x="904638" y="759088"/>
                    </a:cubicBezTo>
                    <a:close/>
                    <a:moveTo>
                      <a:pt x="698431" y="1041835"/>
                    </a:moveTo>
                    <a:cubicBezTo>
                      <a:pt x="703083" y="1030555"/>
                      <a:pt x="725822" y="1019069"/>
                      <a:pt x="736598" y="1004055"/>
                    </a:cubicBezTo>
                    <a:cubicBezTo>
                      <a:pt x="733962" y="1024374"/>
                      <a:pt x="710628" y="1033182"/>
                      <a:pt x="698431" y="1041835"/>
                    </a:cubicBezTo>
                    <a:close/>
                    <a:moveTo>
                      <a:pt x="595405" y="937997"/>
                    </a:moveTo>
                    <a:cubicBezTo>
                      <a:pt x="586826" y="941809"/>
                      <a:pt x="602770" y="922468"/>
                      <a:pt x="605535" y="916828"/>
                    </a:cubicBezTo>
                    <a:cubicBezTo>
                      <a:pt x="614062" y="913068"/>
                      <a:pt x="598093" y="932306"/>
                      <a:pt x="595405" y="937997"/>
                    </a:cubicBezTo>
                    <a:close/>
                    <a:moveTo>
                      <a:pt x="538272" y="638870"/>
                    </a:moveTo>
                    <a:cubicBezTo>
                      <a:pt x="535791" y="630294"/>
                      <a:pt x="550469" y="617959"/>
                      <a:pt x="554706" y="607966"/>
                    </a:cubicBezTo>
                    <a:cubicBezTo>
                      <a:pt x="557885" y="607425"/>
                      <a:pt x="546980" y="636501"/>
                      <a:pt x="538272" y="638870"/>
                    </a:cubicBezTo>
                    <a:close/>
                    <a:moveTo>
                      <a:pt x="366019" y="1057390"/>
                    </a:moveTo>
                    <a:cubicBezTo>
                      <a:pt x="364882" y="1038668"/>
                      <a:pt x="377286" y="1017086"/>
                      <a:pt x="388371" y="995659"/>
                    </a:cubicBezTo>
                    <a:cubicBezTo>
                      <a:pt x="385865" y="1015257"/>
                      <a:pt x="378423" y="1035757"/>
                      <a:pt x="366019" y="1057390"/>
                    </a:cubicBezTo>
                    <a:close/>
                    <a:moveTo>
                      <a:pt x="545688" y="422541"/>
                    </a:moveTo>
                    <a:cubicBezTo>
                      <a:pt x="549228" y="429546"/>
                      <a:pt x="535714" y="440182"/>
                      <a:pt x="532458" y="448578"/>
                    </a:cubicBezTo>
                    <a:cubicBezTo>
                      <a:pt x="521941" y="440105"/>
                      <a:pt x="542355" y="429546"/>
                      <a:pt x="545688" y="422541"/>
                    </a:cubicBezTo>
                    <a:close/>
                    <a:moveTo>
                      <a:pt x="667965" y="286459"/>
                    </a:moveTo>
                    <a:cubicBezTo>
                      <a:pt x="673237" y="290940"/>
                      <a:pt x="668637" y="297585"/>
                      <a:pt x="671480" y="302530"/>
                    </a:cubicBezTo>
                    <a:cubicBezTo>
                      <a:pt x="664968" y="311569"/>
                      <a:pt x="655149" y="305208"/>
                      <a:pt x="649050" y="315844"/>
                    </a:cubicBezTo>
                    <a:cubicBezTo>
                      <a:pt x="646466" y="303405"/>
                      <a:pt x="663392" y="298306"/>
                      <a:pt x="667965" y="286459"/>
                    </a:cubicBezTo>
                    <a:close/>
                    <a:moveTo>
                      <a:pt x="798486" y="977992"/>
                    </a:moveTo>
                    <a:cubicBezTo>
                      <a:pt x="849624" y="910441"/>
                      <a:pt x="950867" y="792232"/>
                      <a:pt x="986449" y="718036"/>
                    </a:cubicBezTo>
                    <a:cubicBezTo>
                      <a:pt x="1010094" y="668719"/>
                      <a:pt x="968878" y="634106"/>
                      <a:pt x="943890" y="601064"/>
                    </a:cubicBezTo>
                    <a:cubicBezTo>
                      <a:pt x="974485" y="556923"/>
                      <a:pt x="976217" y="511133"/>
                      <a:pt x="1008827" y="473224"/>
                    </a:cubicBezTo>
                    <a:cubicBezTo>
                      <a:pt x="1016967" y="468434"/>
                      <a:pt x="1028750" y="480589"/>
                      <a:pt x="1035495" y="469567"/>
                    </a:cubicBezTo>
                    <a:cubicBezTo>
                      <a:pt x="1115419" y="365858"/>
                      <a:pt x="1156325" y="252439"/>
                      <a:pt x="1228006" y="143476"/>
                    </a:cubicBezTo>
                    <a:cubicBezTo>
                      <a:pt x="1214208" y="95266"/>
                      <a:pt x="1201804" y="46720"/>
                      <a:pt x="1181700" y="-100"/>
                    </a:cubicBezTo>
                    <a:cubicBezTo>
                      <a:pt x="1143766" y="67761"/>
                      <a:pt x="1105626" y="135724"/>
                      <a:pt x="1067950" y="203585"/>
                    </a:cubicBezTo>
                    <a:cubicBezTo>
                      <a:pt x="1080018" y="238172"/>
                      <a:pt x="1101207" y="270698"/>
                      <a:pt x="1105419" y="307011"/>
                    </a:cubicBezTo>
                    <a:cubicBezTo>
                      <a:pt x="1087434" y="277266"/>
                      <a:pt x="1081930" y="244713"/>
                      <a:pt x="1064126" y="214916"/>
                    </a:cubicBezTo>
                    <a:cubicBezTo>
                      <a:pt x="1049268" y="236343"/>
                      <a:pt x="1043893" y="255813"/>
                      <a:pt x="1027200" y="277703"/>
                    </a:cubicBezTo>
                    <a:cubicBezTo>
                      <a:pt x="1039526" y="311492"/>
                      <a:pt x="1069682" y="341392"/>
                      <a:pt x="1066219" y="378683"/>
                    </a:cubicBezTo>
                    <a:cubicBezTo>
                      <a:pt x="1049965" y="348525"/>
                      <a:pt x="1040895" y="316823"/>
                      <a:pt x="1020921" y="287490"/>
                    </a:cubicBezTo>
                    <a:cubicBezTo>
                      <a:pt x="1003039" y="299851"/>
                      <a:pt x="1028311" y="313835"/>
                      <a:pt x="1018957" y="317364"/>
                    </a:cubicBezTo>
                    <a:cubicBezTo>
                      <a:pt x="1018052" y="314067"/>
                      <a:pt x="1013091" y="296426"/>
                      <a:pt x="1008336" y="307088"/>
                    </a:cubicBezTo>
                    <a:cubicBezTo>
                      <a:pt x="993013" y="352517"/>
                      <a:pt x="1048182" y="382623"/>
                      <a:pt x="1038751" y="426739"/>
                    </a:cubicBezTo>
                    <a:cubicBezTo>
                      <a:pt x="1019319" y="395912"/>
                      <a:pt x="1013324" y="362123"/>
                      <a:pt x="992548" y="331580"/>
                    </a:cubicBezTo>
                    <a:cubicBezTo>
                      <a:pt x="967793" y="367119"/>
                      <a:pt x="954511" y="400213"/>
                      <a:pt x="928799" y="435933"/>
                    </a:cubicBezTo>
                    <a:cubicBezTo>
                      <a:pt x="924381" y="446260"/>
                      <a:pt x="943218" y="459677"/>
                      <a:pt x="930918" y="464931"/>
                    </a:cubicBezTo>
                    <a:cubicBezTo>
                      <a:pt x="923476" y="458956"/>
                      <a:pt x="926551" y="443813"/>
                      <a:pt x="912029" y="445925"/>
                    </a:cubicBezTo>
                    <a:cubicBezTo>
                      <a:pt x="887842" y="460965"/>
                      <a:pt x="867273" y="492281"/>
                      <a:pt x="847092" y="525349"/>
                    </a:cubicBezTo>
                    <a:cubicBezTo>
                      <a:pt x="828461" y="530165"/>
                      <a:pt x="813654" y="538869"/>
                      <a:pt x="800682" y="554399"/>
                    </a:cubicBezTo>
                    <a:cubicBezTo>
                      <a:pt x="709930" y="661997"/>
                      <a:pt x="651557" y="841885"/>
                      <a:pt x="549978" y="933207"/>
                    </a:cubicBezTo>
                    <a:cubicBezTo>
                      <a:pt x="547549" y="931636"/>
                      <a:pt x="545068" y="930039"/>
                      <a:pt x="542665" y="928468"/>
                    </a:cubicBezTo>
                    <a:cubicBezTo>
                      <a:pt x="628610" y="774797"/>
                      <a:pt x="738355" y="646184"/>
                      <a:pt x="831122" y="490968"/>
                    </a:cubicBezTo>
                    <a:cubicBezTo>
                      <a:pt x="795902" y="423545"/>
                      <a:pt x="765487" y="355067"/>
                      <a:pt x="729543" y="287850"/>
                    </a:cubicBezTo>
                    <a:cubicBezTo>
                      <a:pt x="609773" y="478503"/>
                      <a:pt x="482379" y="657954"/>
                      <a:pt x="378448" y="844203"/>
                    </a:cubicBezTo>
                    <a:cubicBezTo>
                      <a:pt x="351523" y="830631"/>
                      <a:pt x="326561" y="826201"/>
                      <a:pt x="299299" y="810903"/>
                    </a:cubicBezTo>
                    <a:cubicBezTo>
                      <a:pt x="440672" y="649738"/>
                      <a:pt x="568221" y="425657"/>
                      <a:pt x="709698" y="264801"/>
                    </a:cubicBezTo>
                    <a:cubicBezTo>
                      <a:pt x="721559" y="216564"/>
                      <a:pt x="648947" y="186768"/>
                      <a:pt x="610496" y="149554"/>
                    </a:cubicBezTo>
                    <a:cubicBezTo>
                      <a:pt x="449251" y="351616"/>
                      <a:pt x="291857" y="571602"/>
                      <a:pt x="128519" y="763929"/>
                    </a:cubicBezTo>
                    <a:cubicBezTo>
                      <a:pt x="85882" y="762229"/>
                      <a:pt x="26785" y="736888"/>
                      <a:pt x="-11" y="775081"/>
                    </a:cubicBezTo>
                    <a:cubicBezTo>
                      <a:pt x="39137" y="770677"/>
                      <a:pt x="79784" y="772994"/>
                      <a:pt x="121491" y="780231"/>
                    </a:cubicBezTo>
                    <a:cubicBezTo>
                      <a:pt x="106891" y="794550"/>
                      <a:pt x="114643" y="804105"/>
                      <a:pt x="112421" y="815823"/>
                    </a:cubicBezTo>
                    <a:cubicBezTo>
                      <a:pt x="79500" y="858702"/>
                      <a:pt x="35648" y="921927"/>
                      <a:pt x="29989" y="960068"/>
                    </a:cubicBezTo>
                    <a:cubicBezTo>
                      <a:pt x="51670" y="970858"/>
                      <a:pt x="58853" y="964832"/>
                      <a:pt x="77174" y="972970"/>
                    </a:cubicBezTo>
                    <a:cubicBezTo>
                      <a:pt x="122679" y="946109"/>
                      <a:pt x="169890" y="926923"/>
                      <a:pt x="209736" y="874618"/>
                    </a:cubicBezTo>
                    <a:cubicBezTo>
                      <a:pt x="216299" y="878790"/>
                      <a:pt x="222863" y="883013"/>
                      <a:pt x="229400" y="887211"/>
                    </a:cubicBezTo>
                    <a:cubicBezTo>
                      <a:pt x="249246" y="868540"/>
                      <a:pt x="268549" y="847113"/>
                      <a:pt x="288265" y="828055"/>
                    </a:cubicBezTo>
                    <a:cubicBezTo>
                      <a:pt x="316354" y="837198"/>
                      <a:pt x="343745" y="843533"/>
                      <a:pt x="372996" y="858032"/>
                    </a:cubicBezTo>
                    <a:cubicBezTo>
                      <a:pt x="351316" y="892877"/>
                      <a:pt x="341290" y="925326"/>
                      <a:pt x="329455" y="958008"/>
                    </a:cubicBezTo>
                    <a:cubicBezTo>
                      <a:pt x="334390" y="963287"/>
                      <a:pt x="349249" y="966403"/>
                      <a:pt x="347517" y="973022"/>
                    </a:cubicBezTo>
                    <a:cubicBezTo>
                      <a:pt x="335889" y="1005034"/>
                      <a:pt x="329713" y="1035835"/>
                      <a:pt x="317594" y="1067898"/>
                    </a:cubicBezTo>
                    <a:cubicBezTo>
                      <a:pt x="240538" y="1043664"/>
                      <a:pt x="165988" y="1031431"/>
                      <a:pt x="97071" y="1044385"/>
                    </a:cubicBezTo>
                    <a:cubicBezTo>
                      <a:pt x="152060" y="1057313"/>
                      <a:pt x="212888" y="1059116"/>
                      <a:pt x="270022" y="1071992"/>
                    </a:cubicBezTo>
                    <a:cubicBezTo>
                      <a:pt x="286405" y="1075727"/>
                      <a:pt x="315811" y="1075006"/>
                      <a:pt x="319791" y="1096948"/>
                    </a:cubicBezTo>
                    <a:cubicBezTo>
                      <a:pt x="294777" y="1101712"/>
                      <a:pt x="255732" y="1093935"/>
                      <a:pt x="240719" y="1112091"/>
                    </a:cubicBezTo>
                    <a:cubicBezTo>
                      <a:pt x="273019" y="1121079"/>
                      <a:pt x="311082" y="1109850"/>
                      <a:pt x="335993" y="1141836"/>
                    </a:cubicBezTo>
                    <a:cubicBezTo>
                      <a:pt x="368862" y="1115413"/>
                      <a:pt x="425995" y="1148043"/>
                      <a:pt x="454885" y="1134908"/>
                    </a:cubicBezTo>
                    <a:cubicBezTo>
                      <a:pt x="447468" y="1136840"/>
                      <a:pt x="425065" y="1138952"/>
                      <a:pt x="427132" y="1124092"/>
                    </a:cubicBezTo>
                    <a:cubicBezTo>
                      <a:pt x="472870" y="1117576"/>
                      <a:pt x="521036" y="1122109"/>
                      <a:pt x="567032" y="1116752"/>
                    </a:cubicBezTo>
                    <a:cubicBezTo>
                      <a:pt x="531993" y="1111421"/>
                      <a:pt x="462120" y="1113147"/>
                      <a:pt x="408682" y="1088140"/>
                    </a:cubicBezTo>
                    <a:cubicBezTo>
                      <a:pt x="423178" y="1066739"/>
                      <a:pt x="433101" y="1046316"/>
                      <a:pt x="437520" y="1027078"/>
                    </a:cubicBezTo>
                    <a:cubicBezTo>
                      <a:pt x="442869" y="1022623"/>
                      <a:pt x="453024" y="1040187"/>
                      <a:pt x="456978" y="1029190"/>
                    </a:cubicBezTo>
                    <a:cubicBezTo>
                      <a:pt x="485687" y="1006038"/>
                      <a:pt x="508969" y="958008"/>
                      <a:pt x="537910" y="935885"/>
                    </a:cubicBezTo>
                    <a:cubicBezTo>
                      <a:pt x="566386" y="947758"/>
                      <a:pt x="568454" y="976267"/>
                      <a:pt x="577730" y="992363"/>
                    </a:cubicBezTo>
                    <a:cubicBezTo>
                      <a:pt x="589049" y="1011910"/>
                      <a:pt x="602511" y="1032332"/>
                      <a:pt x="621659" y="1048042"/>
                    </a:cubicBezTo>
                    <a:cubicBezTo>
                      <a:pt x="706571" y="1117550"/>
                      <a:pt x="746650" y="1046316"/>
                      <a:pt x="798486" y="977992"/>
                    </a:cubicBezTo>
                    <a:close/>
                  </a:path>
                </a:pathLst>
              </a:custGeom>
              <a:grpFill/>
              <a:ln w="25598" cap="flat">
                <a:noFill/>
                <a:prstDash val="solid"/>
                <a:round/>
              </a:ln>
            </p:spPr>
            <p:txBody>
              <a:bodyPr rtlCol="0" anchor="ctr"/>
              <a:lstStyle/>
              <a:p>
                <a:endParaRPr lang="en-LT" dirty="0"/>
              </a:p>
            </p:txBody>
          </p:sp>
          <p:sp>
            <p:nvSpPr>
              <p:cNvPr id="119" name="Freeform 118">
                <a:extLst>
                  <a:ext uri="{FF2B5EF4-FFF2-40B4-BE49-F238E27FC236}">
                    <a16:creationId xmlns:a16="http://schemas.microsoft.com/office/drawing/2014/main" id="{B64FFBFD-809C-D64A-BEEB-6AE8401D7873}"/>
                  </a:ext>
                </a:extLst>
              </p:cNvPr>
              <p:cNvSpPr/>
              <p:nvPr/>
            </p:nvSpPr>
            <p:spPr>
              <a:xfrm rot="-1917689">
                <a:off x="5495934" y="2325758"/>
                <a:ext cx="395075" cy="751126"/>
              </a:xfrm>
              <a:custGeom>
                <a:avLst/>
                <a:gdLst>
                  <a:gd name="connsiteX0" fmla="*/ 316309 w 395075"/>
                  <a:gd name="connsiteY0" fmla="*/ 600109 h 751126"/>
                  <a:gd name="connsiteX1" fmla="*/ 296722 w 395075"/>
                  <a:gd name="connsiteY1" fmla="*/ 635983 h 751126"/>
                  <a:gd name="connsiteX2" fmla="*/ 288350 w 395075"/>
                  <a:gd name="connsiteY2" fmla="*/ 616797 h 751126"/>
                  <a:gd name="connsiteX3" fmla="*/ 316309 w 395075"/>
                  <a:gd name="connsiteY3" fmla="*/ 600109 h 751126"/>
                  <a:gd name="connsiteX4" fmla="*/ 395045 w 395075"/>
                  <a:gd name="connsiteY4" fmla="*/ 564054 h 751126"/>
                  <a:gd name="connsiteX5" fmla="*/ 277032 w 395075"/>
                  <a:gd name="connsiteY5" fmla="*/ 257175 h 751126"/>
                  <a:gd name="connsiteX6" fmla="*/ 234317 w 395075"/>
                  <a:gd name="connsiteY6" fmla="*/ 129618 h 751126"/>
                  <a:gd name="connsiteX7" fmla="*/ 182585 w 395075"/>
                  <a:gd name="connsiteY7" fmla="*/ -102 h 751126"/>
                  <a:gd name="connsiteX8" fmla="*/ -30 w 395075"/>
                  <a:gd name="connsiteY8" fmla="*/ 197530 h 751126"/>
                  <a:gd name="connsiteX9" fmla="*/ 56871 w 395075"/>
                  <a:gd name="connsiteY9" fmla="*/ 303016 h 751126"/>
                  <a:gd name="connsiteX10" fmla="*/ 77646 w 395075"/>
                  <a:gd name="connsiteY10" fmla="*/ 330135 h 751126"/>
                  <a:gd name="connsiteX11" fmla="*/ 157623 w 395075"/>
                  <a:gd name="connsiteY11" fmla="*/ 232709 h 751126"/>
                  <a:gd name="connsiteX12" fmla="*/ 88680 w 395075"/>
                  <a:gd name="connsiteY12" fmla="*/ 361348 h 751126"/>
                  <a:gd name="connsiteX13" fmla="*/ 271347 w 395075"/>
                  <a:gd name="connsiteY13" fmla="*/ 751024 h 751126"/>
                  <a:gd name="connsiteX14" fmla="*/ 395045 w 395075"/>
                  <a:gd name="connsiteY14" fmla="*/ 564054 h 75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075" h="751126">
                    <a:moveTo>
                      <a:pt x="316309" y="600109"/>
                    </a:moveTo>
                    <a:cubicBezTo>
                      <a:pt x="317756" y="610384"/>
                      <a:pt x="301994" y="624342"/>
                      <a:pt x="296722" y="635983"/>
                    </a:cubicBezTo>
                    <a:cubicBezTo>
                      <a:pt x="293492" y="629699"/>
                      <a:pt x="291554" y="623081"/>
                      <a:pt x="288350" y="616797"/>
                    </a:cubicBezTo>
                    <a:cubicBezTo>
                      <a:pt x="296774" y="607294"/>
                      <a:pt x="307420" y="607783"/>
                      <a:pt x="316309" y="600109"/>
                    </a:cubicBezTo>
                    <a:close/>
                    <a:moveTo>
                      <a:pt x="395045" y="564054"/>
                    </a:moveTo>
                    <a:cubicBezTo>
                      <a:pt x="350470" y="462894"/>
                      <a:pt x="333829" y="355656"/>
                      <a:pt x="277032" y="257175"/>
                    </a:cubicBezTo>
                    <a:cubicBezTo>
                      <a:pt x="274319" y="212004"/>
                      <a:pt x="250054" y="172008"/>
                      <a:pt x="234317" y="129618"/>
                    </a:cubicBezTo>
                    <a:cubicBezTo>
                      <a:pt x="218296" y="86713"/>
                      <a:pt x="202559" y="38322"/>
                      <a:pt x="182585" y="-102"/>
                    </a:cubicBezTo>
                    <a:cubicBezTo>
                      <a:pt x="114495" y="32888"/>
                      <a:pt x="57026" y="114295"/>
                      <a:pt x="-30" y="197530"/>
                    </a:cubicBezTo>
                    <a:cubicBezTo>
                      <a:pt x="24467" y="228280"/>
                      <a:pt x="40669" y="270953"/>
                      <a:pt x="56871" y="303016"/>
                    </a:cubicBezTo>
                    <a:cubicBezTo>
                      <a:pt x="62375" y="313807"/>
                      <a:pt x="69016" y="328100"/>
                      <a:pt x="77646" y="330135"/>
                    </a:cubicBezTo>
                    <a:cubicBezTo>
                      <a:pt x="103900" y="295908"/>
                      <a:pt x="127441" y="249346"/>
                      <a:pt x="157623" y="232709"/>
                    </a:cubicBezTo>
                    <a:cubicBezTo>
                      <a:pt x="159380" y="270206"/>
                      <a:pt x="111368" y="318520"/>
                      <a:pt x="88680" y="361348"/>
                    </a:cubicBezTo>
                    <a:cubicBezTo>
                      <a:pt x="152868" y="490450"/>
                      <a:pt x="216022" y="619861"/>
                      <a:pt x="271347" y="751024"/>
                    </a:cubicBezTo>
                    <a:cubicBezTo>
                      <a:pt x="310831" y="676416"/>
                      <a:pt x="366827" y="634824"/>
                      <a:pt x="395045" y="564054"/>
                    </a:cubicBezTo>
                    <a:close/>
                  </a:path>
                </a:pathLst>
              </a:custGeom>
              <a:grpFill/>
              <a:ln w="25598" cap="flat">
                <a:noFill/>
                <a:prstDash val="solid"/>
                <a:round/>
              </a:ln>
            </p:spPr>
            <p:txBody>
              <a:bodyPr rtlCol="0" anchor="ctr"/>
              <a:lstStyle/>
              <a:p>
                <a:endParaRPr lang="en-LT"/>
              </a:p>
            </p:txBody>
          </p:sp>
          <p:sp>
            <p:nvSpPr>
              <p:cNvPr id="120" name="Freeform 119">
                <a:extLst>
                  <a:ext uri="{FF2B5EF4-FFF2-40B4-BE49-F238E27FC236}">
                    <a16:creationId xmlns:a16="http://schemas.microsoft.com/office/drawing/2014/main" id="{761ED7F7-66F0-FD4C-B339-9C03DCA1EF07}"/>
                  </a:ext>
                </a:extLst>
              </p:cNvPr>
              <p:cNvSpPr/>
              <p:nvPr/>
            </p:nvSpPr>
            <p:spPr>
              <a:xfrm rot="-1917689">
                <a:off x="5665027" y="2786882"/>
                <a:ext cx="213111" cy="395419"/>
              </a:xfrm>
              <a:custGeom>
                <a:avLst/>
                <a:gdLst>
                  <a:gd name="connsiteX0" fmla="*/ 210447 w 213111"/>
                  <a:gd name="connsiteY0" fmla="*/ 391789 h 395419"/>
                  <a:gd name="connsiteX1" fmla="*/ 197346 w 213111"/>
                  <a:gd name="connsiteY1" fmla="*/ 341982 h 395419"/>
                  <a:gd name="connsiteX2" fmla="*/ 18866 w 213111"/>
                  <a:gd name="connsiteY2" fmla="*/ -102 h 395419"/>
                  <a:gd name="connsiteX3" fmla="*/ -24 w 213111"/>
                  <a:gd name="connsiteY3" fmla="*/ 29257 h 395419"/>
                  <a:gd name="connsiteX4" fmla="*/ 128765 w 213111"/>
                  <a:gd name="connsiteY4" fmla="*/ 260085 h 395419"/>
                  <a:gd name="connsiteX5" fmla="*/ 130497 w 213111"/>
                  <a:gd name="connsiteY5" fmla="*/ 270309 h 395419"/>
                  <a:gd name="connsiteX6" fmla="*/ 204866 w 213111"/>
                  <a:gd name="connsiteY6" fmla="*/ 395111 h 395419"/>
                  <a:gd name="connsiteX7" fmla="*/ 210447 w 213111"/>
                  <a:gd name="connsiteY7" fmla="*/ 391789 h 3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11" h="395419">
                    <a:moveTo>
                      <a:pt x="210447" y="391789"/>
                    </a:moveTo>
                    <a:cubicBezTo>
                      <a:pt x="219181" y="374405"/>
                      <a:pt x="204013" y="355785"/>
                      <a:pt x="197346" y="341982"/>
                    </a:cubicBezTo>
                    <a:cubicBezTo>
                      <a:pt x="141841" y="226220"/>
                      <a:pt x="82330" y="110999"/>
                      <a:pt x="18866" y="-102"/>
                    </a:cubicBezTo>
                    <a:cubicBezTo>
                      <a:pt x="12561" y="9684"/>
                      <a:pt x="6255" y="19496"/>
                      <a:pt x="-24" y="29257"/>
                    </a:cubicBezTo>
                    <a:cubicBezTo>
                      <a:pt x="44990" y="105745"/>
                      <a:pt x="77549" y="184937"/>
                      <a:pt x="128765" y="260085"/>
                    </a:cubicBezTo>
                    <a:cubicBezTo>
                      <a:pt x="128972" y="263099"/>
                      <a:pt x="129670" y="266627"/>
                      <a:pt x="130497" y="270309"/>
                    </a:cubicBezTo>
                    <a:cubicBezTo>
                      <a:pt x="159231" y="311051"/>
                      <a:pt x="177552" y="354060"/>
                      <a:pt x="204866" y="395111"/>
                    </a:cubicBezTo>
                    <a:cubicBezTo>
                      <a:pt x="207036" y="395755"/>
                      <a:pt x="209026" y="394956"/>
                      <a:pt x="210447" y="391789"/>
                    </a:cubicBezTo>
                    <a:close/>
                  </a:path>
                </a:pathLst>
              </a:custGeom>
              <a:grpFill/>
              <a:ln w="25598" cap="flat">
                <a:noFill/>
                <a:prstDash val="solid"/>
                <a:round/>
              </a:ln>
            </p:spPr>
            <p:txBody>
              <a:bodyPr rtlCol="0" anchor="ctr"/>
              <a:lstStyle/>
              <a:p>
                <a:endParaRPr lang="en-LT"/>
              </a:p>
            </p:txBody>
          </p:sp>
          <p:sp>
            <p:nvSpPr>
              <p:cNvPr id="121" name="Freeform 120">
                <a:extLst>
                  <a:ext uri="{FF2B5EF4-FFF2-40B4-BE49-F238E27FC236}">
                    <a16:creationId xmlns:a16="http://schemas.microsoft.com/office/drawing/2014/main" id="{77EDA951-7DB1-7A4A-A8C7-79FA308FC540}"/>
                  </a:ext>
                </a:extLst>
              </p:cNvPr>
              <p:cNvSpPr/>
              <p:nvPr/>
            </p:nvSpPr>
            <p:spPr>
              <a:xfrm rot="-1917689">
                <a:off x="5827547" y="3030662"/>
                <a:ext cx="2661" cy="4893"/>
              </a:xfrm>
              <a:custGeom>
                <a:avLst/>
                <a:gdLst>
                  <a:gd name="connsiteX0" fmla="*/ 2639 w 2661"/>
                  <a:gd name="connsiteY0" fmla="*/ 4790 h 4893"/>
                  <a:gd name="connsiteX1" fmla="*/ 2432 w 2661"/>
                  <a:gd name="connsiteY1" fmla="*/ 3657 h 4893"/>
                  <a:gd name="connsiteX2" fmla="*/ -22 w 2661"/>
                  <a:gd name="connsiteY2" fmla="*/ -103 h 4893"/>
                  <a:gd name="connsiteX3" fmla="*/ 2639 w 2661"/>
                  <a:gd name="connsiteY3" fmla="*/ 4790 h 4893"/>
                </a:gdLst>
                <a:ahLst/>
                <a:cxnLst>
                  <a:cxn ang="0">
                    <a:pos x="connsiteX0" y="connsiteY0"/>
                  </a:cxn>
                  <a:cxn ang="0">
                    <a:pos x="connsiteX1" y="connsiteY1"/>
                  </a:cxn>
                  <a:cxn ang="0">
                    <a:pos x="connsiteX2" y="connsiteY2"/>
                  </a:cxn>
                  <a:cxn ang="0">
                    <a:pos x="connsiteX3" y="connsiteY3"/>
                  </a:cxn>
                </a:cxnLst>
                <a:rect l="l" t="t" r="r" b="b"/>
                <a:pathLst>
                  <a:path w="2661" h="4893">
                    <a:moveTo>
                      <a:pt x="2639" y="4790"/>
                    </a:moveTo>
                    <a:cubicBezTo>
                      <a:pt x="2536" y="4378"/>
                      <a:pt x="2536" y="4043"/>
                      <a:pt x="2432" y="3657"/>
                    </a:cubicBezTo>
                    <a:cubicBezTo>
                      <a:pt x="1554" y="2421"/>
                      <a:pt x="882" y="1133"/>
                      <a:pt x="-22" y="-103"/>
                    </a:cubicBezTo>
                    <a:cubicBezTo>
                      <a:pt x="856" y="1468"/>
                      <a:pt x="1735" y="3219"/>
                      <a:pt x="2639" y="4790"/>
                    </a:cubicBezTo>
                    <a:close/>
                  </a:path>
                </a:pathLst>
              </a:custGeom>
              <a:grpFill/>
              <a:ln w="25598" cap="flat">
                <a:noFill/>
                <a:prstDash val="solid"/>
                <a:round/>
              </a:ln>
            </p:spPr>
            <p:txBody>
              <a:bodyPr rtlCol="0" anchor="ctr"/>
              <a:lstStyle/>
              <a:p>
                <a:endParaRPr lang="en-LT"/>
              </a:p>
            </p:txBody>
          </p:sp>
          <p:sp>
            <p:nvSpPr>
              <p:cNvPr id="122" name="Freeform 121">
                <a:extLst>
                  <a:ext uri="{FF2B5EF4-FFF2-40B4-BE49-F238E27FC236}">
                    <a16:creationId xmlns:a16="http://schemas.microsoft.com/office/drawing/2014/main" id="{1F137A97-4BD8-EA45-A1F6-D7FE31F43F3E}"/>
                  </a:ext>
                </a:extLst>
              </p:cNvPr>
              <p:cNvSpPr/>
              <p:nvPr/>
            </p:nvSpPr>
            <p:spPr>
              <a:xfrm rot="-1917689">
                <a:off x="5862100" y="3005744"/>
                <a:ext cx="69896" cy="135900"/>
              </a:xfrm>
              <a:custGeom>
                <a:avLst/>
                <a:gdLst>
                  <a:gd name="connsiteX0" fmla="*/ 66286 w 69896"/>
                  <a:gd name="connsiteY0" fmla="*/ 135797 h 135900"/>
                  <a:gd name="connsiteX1" fmla="*/ 54218 w 69896"/>
                  <a:gd name="connsiteY1" fmla="*/ 100515 h 135900"/>
                  <a:gd name="connsiteX2" fmla="*/ -21 w 69896"/>
                  <a:gd name="connsiteY2" fmla="*/ -104 h 135900"/>
                  <a:gd name="connsiteX3" fmla="*/ 45536 w 69896"/>
                  <a:gd name="connsiteY3" fmla="*/ 108755 h 135900"/>
                  <a:gd name="connsiteX4" fmla="*/ 66286 w 69896"/>
                  <a:gd name="connsiteY4" fmla="*/ 135797 h 13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96" h="135900">
                    <a:moveTo>
                      <a:pt x="66286" y="135797"/>
                    </a:moveTo>
                    <a:cubicBezTo>
                      <a:pt x="77371" y="122096"/>
                      <a:pt x="59748" y="110507"/>
                      <a:pt x="54218" y="100515"/>
                    </a:cubicBezTo>
                    <a:cubicBezTo>
                      <a:pt x="35432" y="66520"/>
                      <a:pt x="17809" y="31856"/>
                      <a:pt x="-21" y="-104"/>
                    </a:cubicBezTo>
                    <a:cubicBezTo>
                      <a:pt x="7162" y="30105"/>
                      <a:pt x="31943" y="79294"/>
                      <a:pt x="45536" y="108755"/>
                    </a:cubicBezTo>
                    <a:cubicBezTo>
                      <a:pt x="50523" y="119598"/>
                      <a:pt x="57267" y="134689"/>
                      <a:pt x="66286" y="135797"/>
                    </a:cubicBezTo>
                    <a:close/>
                  </a:path>
                </a:pathLst>
              </a:custGeom>
              <a:grpFill/>
              <a:ln w="25598" cap="flat">
                <a:noFill/>
                <a:prstDash val="solid"/>
                <a:round/>
              </a:ln>
            </p:spPr>
            <p:txBody>
              <a:bodyPr rtlCol="0" anchor="ctr"/>
              <a:lstStyle/>
              <a:p>
                <a:endParaRPr lang="en-LT"/>
              </a:p>
            </p:txBody>
          </p:sp>
          <p:sp>
            <p:nvSpPr>
              <p:cNvPr id="123" name="Freeform 122">
                <a:extLst>
                  <a:ext uri="{FF2B5EF4-FFF2-40B4-BE49-F238E27FC236}">
                    <a16:creationId xmlns:a16="http://schemas.microsoft.com/office/drawing/2014/main" id="{05FD6DCB-6E0E-A64A-A876-334943F1A08C}"/>
                  </a:ext>
                </a:extLst>
              </p:cNvPr>
              <p:cNvSpPr/>
              <p:nvPr/>
            </p:nvSpPr>
            <p:spPr>
              <a:xfrm rot="-1917689">
                <a:off x="5629209" y="2848440"/>
                <a:ext cx="260704" cy="419756"/>
              </a:xfrm>
              <a:custGeom>
                <a:avLst/>
                <a:gdLst>
                  <a:gd name="connsiteX0" fmla="*/ 182722 w 260704"/>
                  <a:gd name="connsiteY0" fmla="*/ 321302 h 419756"/>
                  <a:gd name="connsiteX1" fmla="*/ 177218 w 260704"/>
                  <a:gd name="connsiteY1" fmla="*/ 286663 h 419756"/>
                  <a:gd name="connsiteX2" fmla="*/ 182722 w 260704"/>
                  <a:gd name="connsiteY2" fmla="*/ 321302 h 419756"/>
                  <a:gd name="connsiteX3" fmla="*/ 153884 w 260704"/>
                  <a:gd name="connsiteY3" fmla="*/ 247595 h 419756"/>
                  <a:gd name="connsiteX4" fmla="*/ 169672 w 260704"/>
                  <a:gd name="connsiteY4" fmla="*/ 271495 h 419756"/>
                  <a:gd name="connsiteX5" fmla="*/ 153884 w 260704"/>
                  <a:gd name="connsiteY5" fmla="*/ 247595 h 419756"/>
                  <a:gd name="connsiteX6" fmla="*/ 260682 w 260704"/>
                  <a:gd name="connsiteY6" fmla="*/ 378037 h 419756"/>
                  <a:gd name="connsiteX7" fmla="*/ 63675 w 260704"/>
                  <a:gd name="connsiteY7" fmla="*/ -102 h 419756"/>
                  <a:gd name="connsiteX8" fmla="*/ -22 w 260704"/>
                  <a:gd name="connsiteY8" fmla="*/ 104277 h 419756"/>
                  <a:gd name="connsiteX9" fmla="*/ 125563 w 260704"/>
                  <a:gd name="connsiteY9" fmla="*/ 340050 h 419756"/>
                  <a:gd name="connsiteX10" fmla="*/ 140705 w 260704"/>
                  <a:gd name="connsiteY10" fmla="*/ 370440 h 419756"/>
                  <a:gd name="connsiteX11" fmla="*/ 233912 w 260704"/>
                  <a:gd name="connsiteY11" fmla="*/ 419655 h 419756"/>
                  <a:gd name="connsiteX12" fmla="*/ 260682 w 260704"/>
                  <a:gd name="connsiteY12" fmla="*/ 378037 h 41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704" h="419756">
                    <a:moveTo>
                      <a:pt x="182722" y="321302"/>
                    </a:moveTo>
                    <a:cubicBezTo>
                      <a:pt x="175383" y="311001"/>
                      <a:pt x="173652" y="299411"/>
                      <a:pt x="177218" y="286663"/>
                    </a:cubicBezTo>
                    <a:cubicBezTo>
                      <a:pt x="181094" y="297789"/>
                      <a:pt x="194686" y="306751"/>
                      <a:pt x="182722" y="321302"/>
                    </a:cubicBezTo>
                    <a:close/>
                    <a:moveTo>
                      <a:pt x="153884" y="247595"/>
                    </a:moveTo>
                    <a:cubicBezTo>
                      <a:pt x="164297" y="246127"/>
                      <a:pt x="164194" y="264953"/>
                      <a:pt x="169672" y="271495"/>
                    </a:cubicBezTo>
                    <a:cubicBezTo>
                      <a:pt x="157269" y="273323"/>
                      <a:pt x="159026" y="254291"/>
                      <a:pt x="153884" y="247595"/>
                    </a:cubicBezTo>
                    <a:close/>
                    <a:moveTo>
                      <a:pt x="260682" y="378037"/>
                    </a:moveTo>
                    <a:cubicBezTo>
                      <a:pt x="197838" y="251330"/>
                      <a:pt x="145330" y="122485"/>
                      <a:pt x="63675" y="-102"/>
                    </a:cubicBezTo>
                    <a:cubicBezTo>
                      <a:pt x="46284" y="33841"/>
                      <a:pt x="22717" y="69098"/>
                      <a:pt x="-22" y="104277"/>
                    </a:cubicBezTo>
                    <a:cubicBezTo>
                      <a:pt x="44242" y="179787"/>
                      <a:pt x="87448" y="263794"/>
                      <a:pt x="125563" y="340050"/>
                    </a:cubicBezTo>
                    <a:cubicBezTo>
                      <a:pt x="130912" y="350712"/>
                      <a:pt x="135718" y="365418"/>
                      <a:pt x="140705" y="370440"/>
                    </a:cubicBezTo>
                    <a:cubicBezTo>
                      <a:pt x="166158" y="396219"/>
                      <a:pt x="205694" y="393953"/>
                      <a:pt x="233912" y="419655"/>
                    </a:cubicBezTo>
                    <a:cubicBezTo>
                      <a:pt x="242801" y="405799"/>
                      <a:pt x="251742" y="391918"/>
                      <a:pt x="260682" y="378037"/>
                    </a:cubicBezTo>
                    <a:close/>
                  </a:path>
                </a:pathLst>
              </a:custGeom>
              <a:grpFill/>
              <a:ln w="25598" cap="flat">
                <a:noFill/>
                <a:prstDash val="solid"/>
                <a:round/>
              </a:ln>
            </p:spPr>
            <p:txBody>
              <a:bodyPr rtlCol="0" anchor="ctr"/>
              <a:lstStyle/>
              <a:p>
                <a:endParaRPr lang="en-LT"/>
              </a:p>
            </p:txBody>
          </p:sp>
          <p:sp>
            <p:nvSpPr>
              <p:cNvPr id="124" name="Freeform 123">
                <a:extLst>
                  <a:ext uri="{FF2B5EF4-FFF2-40B4-BE49-F238E27FC236}">
                    <a16:creationId xmlns:a16="http://schemas.microsoft.com/office/drawing/2014/main" id="{1872BFC3-D751-7042-A82F-0BFD33308AEE}"/>
                  </a:ext>
                </a:extLst>
              </p:cNvPr>
              <p:cNvSpPr/>
              <p:nvPr/>
            </p:nvSpPr>
            <p:spPr>
              <a:xfrm rot="-1917689">
                <a:off x="5623603" y="3005208"/>
                <a:ext cx="154836" cy="239764"/>
              </a:xfrm>
              <a:custGeom>
                <a:avLst/>
                <a:gdLst>
                  <a:gd name="connsiteX0" fmla="*/ -21 w 154836"/>
                  <a:gd name="connsiteY0" fmla="*/ 43990 h 239764"/>
                  <a:gd name="connsiteX1" fmla="*/ 154815 w 154836"/>
                  <a:gd name="connsiteY1" fmla="*/ 239665 h 239764"/>
                  <a:gd name="connsiteX2" fmla="*/ 28326 w 154836"/>
                  <a:gd name="connsiteY2" fmla="*/ -100 h 239764"/>
                  <a:gd name="connsiteX3" fmla="*/ -21 w 154836"/>
                  <a:gd name="connsiteY3" fmla="*/ 43990 h 239764"/>
                </a:gdLst>
                <a:ahLst/>
                <a:cxnLst>
                  <a:cxn ang="0">
                    <a:pos x="connsiteX0" y="connsiteY0"/>
                  </a:cxn>
                  <a:cxn ang="0">
                    <a:pos x="connsiteX1" y="connsiteY1"/>
                  </a:cxn>
                  <a:cxn ang="0">
                    <a:pos x="connsiteX2" y="connsiteY2"/>
                  </a:cxn>
                  <a:cxn ang="0">
                    <a:pos x="connsiteX3" y="connsiteY3"/>
                  </a:cxn>
                </a:cxnLst>
                <a:rect l="l" t="t" r="r" b="b"/>
                <a:pathLst>
                  <a:path w="154836" h="239764">
                    <a:moveTo>
                      <a:pt x="-21" y="43990"/>
                    </a:moveTo>
                    <a:cubicBezTo>
                      <a:pt x="40057" y="112855"/>
                      <a:pt x="49851" y="192665"/>
                      <a:pt x="154815" y="239665"/>
                    </a:cubicBezTo>
                    <a:cubicBezTo>
                      <a:pt x="118096" y="158542"/>
                      <a:pt x="74632" y="78938"/>
                      <a:pt x="28326" y="-100"/>
                    </a:cubicBezTo>
                    <a:cubicBezTo>
                      <a:pt x="18868" y="14605"/>
                      <a:pt x="9462" y="29285"/>
                      <a:pt x="-21" y="43990"/>
                    </a:cubicBezTo>
                    <a:close/>
                  </a:path>
                </a:pathLst>
              </a:custGeom>
              <a:grpFill/>
              <a:ln w="25598" cap="flat">
                <a:noFill/>
                <a:prstDash val="solid"/>
                <a:round/>
              </a:ln>
            </p:spPr>
            <p:txBody>
              <a:bodyPr rtlCol="0" anchor="ctr"/>
              <a:lstStyle/>
              <a:p>
                <a:endParaRPr lang="en-LT"/>
              </a:p>
            </p:txBody>
          </p:sp>
          <p:sp>
            <p:nvSpPr>
              <p:cNvPr id="125" name="Freeform 124">
                <a:extLst>
                  <a:ext uri="{FF2B5EF4-FFF2-40B4-BE49-F238E27FC236}">
                    <a16:creationId xmlns:a16="http://schemas.microsoft.com/office/drawing/2014/main" id="{9A0A4C8C-D42A-9043-B5D3-AEAE576F917A}"/>
                  </a:ext>
                </a:extLst>
              </p:cNvPr>
              <p:cNvSpPr/>
              <p:nvPr/>
            </p:nvSpPr>
            <p:spPr>
              <a:xfrm rot="-1917689">
                <a:off x="5725460" y="4230670"/>
                <a:ext cx="51655" cy="8881"/>
              </a:xfrm>
              <a:custGeom>
                <a:avLst/>
                <a:gdLst>
                  <a:gd name="connsiteX0" fmla="*/ 2 w 51655"/>
                  <a:gd name="connsiteY0" fmla="*/ 4876 h 8881"/>
                  <a:gd name="connsiteX1" fmla="*/ 51657 w 51655"/>
                  <a:gd name="connsiteY1" fmla="*/ -94 h 8881"/>
                  <a:gd name="connsiteX2" fmla="*/ 2 w 51655"/>
                  <a:gd name="connsiteY2" fmla="*/ 4876 h 8881"/>
                </a:gdLst>
                <a:ahLst/>
                <a:cxnLst>
                  <a:cxn ang="0">
                    <a:pos x="connsiteX0" y="connsiteY0"/>
                  </a:cxn>
                  <a:cxn ang="0">
                    <a:pos x="connsiteX1" y="connsiteY1"/>
                  </a:cxn>
                  <a:cxn ang="0">
                    <a:pos x="connsiteX2" y="connsiteY2"/>
                  </a:cxn>
                </a:cxnLst>
                <a:rect l="l" t="t" r="r" b="b"/>
                <a:pathLst>
                  <a:path w="51655" h="8881">
                    <a:moveTo>
                      <a:pt x="2" y="4876"/>
                    </a:moveTo>
                    <a:cubicBezTo>
                      <a:pt x="16126" y="4515"/>
                      <a:pt x="46101" y="16645"/>
                      <a:pt x="51657" y="-94"/>
                    </a:cubicBezTo>
                    <a:cubicBezTo>
                      <a:pt x="36385" y="4206"/>
                      <a:pt x="7341" y="-3340"/>
                      <a:pt x="2" y="4876"/>
                    </a:cubicBezTo>
                    <a:close/>
                  </a:path>
                </a:pathLst>
              </a:custGeom>
              <a:grpFill/>
              <a:ln w="25598" cap="flat">
                <a:noFill/>
                <a:prstDash val="solid"/>
                <a:round/>
              </a:ln>
            </p:spPr>
            <p:txBody>
              <a:bodyPr rtlCol="0" anchor="ctr"/>
              <a:lstStyle/>
              <a:p>
                <a:endParaRPr lang="en-LT"/>
              </a:p>
            </p:txBody>
          </p:sp>
          <p:sp>
            <p:nvSpPr>
              <p:cNvPr id="126" name="Freeform 125">
                <a:extLst>
                  <a:ext uri="{FF2B5EF4-FFF2-40B4-BE49-F238E27FC236}">
                    <a16:creationId xmlns:a16="http://schemas.microsoft.com/office/drawing/2014/main" id="{186C6BFC-9A62-104B-AA1A-65E7C208366C}"/>
                  </a:ext>
                </a:extLst>
              </p:cNvPr>
              <p:cNvSpPr/>
              <p:nvPr/>
            </p:nvSpPr>
            <p:spPr>
              <a:xfrm rot="-1917689">
                <a:off x="5519663" y="4263724"/>
                <a:ext cx="223546" cy="24702"/>
              </a:xfrm>
              <a:custGeom>
                <a:avLst/>
                <a:gdLst>
                  <a:gd name="connsiteX0" fmla="*/ 223548 w 223546"/>
                  <a:gd name="connsiteY0" fmla="*/ 19245 h 24702"/>
                  <a:gd name="connsiteX1" fmla="*/ 2 w 223546"/>
                  <a:gd name="connsiteY1" fmla="*/ 11082 h 24702"/>
                  <a:gd name="connsiteX2" fmla="*/ 203393 w 223546"/>
                  <a:gd name="connsiteY2" fmla="*/ 23598 h 24702"/>
                  <a:gd name="connsiteX3" fmla="*/ 223548 w 223546"/>
                  <a:gd name="connsiteY3" fmla="*/ 19245 h 24702"/>
                </a:gdLst>
                <a:ahLst/>
                <a:cxnLst>
                  <a:cxn ang="0">
                    <a:pos x="connsiteX0" y="connsiteY0"/>
                  </a:cxn>
                  <a:cxn ang="0">
                    <a:pos x="connsiteX1" y="connsiteY1"/>
                  </a:cxn>
                  <a:cxn ang="0">
                    <a:pos x="connsiteX2" y="connsiteY2"/>
                  </a:cxn>
                  <a:cxn ang="0">
                    <a:pos x="connsiteX3" y="connsiteY3"/>
                  </a:cxn>
                </a:cxnLst>
                <a:rect l="l" t="t" r="r" b="b"/>
                <a:pathLst>
                  <a:path w="223546" h="24702">
                    <a:moveTo>
                      <a:pt x="223548" y="19245"/>
                    </a:moveTo>
                    <a:cubicBezTo>
                      <a:pt x="150755" y="18035"/>
                      <a:pt x="59203" y="-17685"/>
                      <a:pt x="2" y="11082"/>
                    </a:cubicBezTo>
                    <a:cubicBezTo>
                      <a:pt x="66748" y="22388"/>
                      <a:pt x="142693" y="26791"/>
                      <a:pt x="203393" y="23598"/>
                    </a:cubicBezTo>
                    <a:cubicBezTo>
                      <a:pt x="210163" y="23186"/>
                      <a:pt x="222282" y="26920"/>
                      <a:pt x="223548" y="19245"/>
                    </a:cubicBezTo>
                    <a:close/>
                  </a:path>
                </a:pathLst>
              </a:custGeom>
              <a:grpFill/>
              <a:ln w="25598" cap="flat">
                <a:noFill/>
                <a:prstDash val="solid"/>
                <a:round/>
              </a:ln>
            </p:spPr>
            <p:txBody>
              <a:bodyPr rtlCol="0" anchor="ctr"/>
              <a:lstStyle/>
              <a:p>
                <a:endParaRPr lang="en-LT"/>
              </a:p>
            </p:txBody>
          </p:sp>
          <p:sp>
            <p:nvSpPr>
              <p:cNvPr id="127" name="Freeform 126">
                <a:extLst>
                  <a:ext uri="{FF2B5EF4-FFF2-40B4-BE49-F238E27FC236}">
                    <a16:creationId xmlns:a16="http://schemas.microsoft.com/office/drawing/2014/main" id="{BCED195B-F21F-B84A-AA9B-1C214D9512FB}"/>
                  </a:ext>
                </a:extLst>
              </p:cNvPr>
              <p:cNvSpPr/>
              <p:nvPr/>
            </p:nvSpPr>
            <p:spPr>
              <a:xfrm rot="-1917689">
                <a:off x="5540538" y="4253345"/>
                <a:ext cx="63128" cy="11590"/>
              </a:xfrm>
              <a:custGeom>
                <a:avLst/>
                <a:gdLst>
                  <a:gd name="connsiteX0" fmla="*/ 63130 w 63128"/>
                  <a:gd name="connsiteY0" fmla="*/ 4794 h 11590"/>
                  <a:gd name="connsiteX1" fmla="*/ 1 w 63128"/>
                  <a:gd name="connsiteY1" fmla="*/ 5901 h 11590"/>
                  <a:gd name="connsiteX2" fmla="*/ 63130 w 63128"/>
                  <a:gd name="connsiteY2" fmla="*/ 4794 h 11590"/>
                </a:gdLst>
                <a:ahLst/>
                <a:cxnLst>
                  <a:cxn ang="0">
                    <a:pos x="connsiteX0" y="connsiteY0"/>
                  </a:cxn>
                  <a:cxn ang="0">
                    <a:pos x="connsiteX1" y="connsiteY1"/>
                  </a:cxn>
                  <a:cxn ang="0">
                    <a:pos x="connsiteX2" y="connsiteY2"/>
                  </a:cxn>
                </a:cxnLst>
                <a:rect l="l" t="t" r="r" b="b"/>
                <a:pathLst>
                  <a:path w="63128" h="11590">
                    <a:moveTo>
                      <a:pt x="63130" y="4794"/>
                    </a:moveTo>
                    <a:cubicBezTo>
                      <a:pt x="43207" y="10434"/>
                      <a:pt x="17754" y="-9551"/>
                      <a:pt x="1" y="5901"/>
                    </a:cubicBezTo>
                    <a:cubicBezTo>
                      <a:pt x="21836" y="15610"/>
                      <a:pt x="51734" y="11000"/>
                      <a:pt x="63130" y="4794"/>
                    </a:cubicBezTo>
                    <a:close/>
                  </a:path>
                </a:pathLst>
              </a:custGeom>
              <a:grpFill/>
              <a:ln w="25598" cap="flat">
                <a:noFill/>
                <a:prstDash val="solid"/>
                <a:round/>
              </a:ln>
            </p:spPr>
            <p:txBody>
              <a:bodyPr rtlCol="0" anchor="ctr"/>
              <a:lstStyle/>
              <a:p>
                <a:endParaRPr lang="en-LT"/>
              </a:p>
            </p:txBody>
          </p:sp>
          <p:sp>
            <p:nvSpPr>
              <p:cNvPr id="128" name="Freeform 127">
                <a:extLst>
                  <a:ext uri="{FF2B5EF4-FFF2-40B4-BE49-F238E27FC236}">
                    <a16:creationId xmlns:a16="http://schemas.microsoft.com/office/drawing/2014/main" id="{7C9A6B36-DDBE-634E-939C-361F0EF0DAD4}"/>
                  </a:ext>
                </a:extLst>
              </p:cNvPr>
              <p:cNvSpPr/>
              <p:nvPr/>
            </p:nvSpPr>
            <p:spPr>
              <a:xfrm rot="-1917689">
                <a:off x="5867773" y="2258160"/>
                <a:ext cx="238350" cy="486122"/>
              </a:xfrm>
              <a:custGeom>
                <a:avLst/>
                <a:gdLst>
                  <a:gd name="connsiteX0" fmla="*/ 205296 w 238350"/>
                  <a:gd name="connsiteY0" fmla="*/ 191265 h 486122"/>
                  <a:gd name="connsiteX1" fmla="*/ 172091 w 238350"/>
                  <a:gd name="connsiteY1" fmla="*/ 280603 h 486122"/>
                  <a:gd name="connsiteX2" fmla="*/ 205296 w 238350"/>
                  <a:gd name="connsiteY2" fmla="*/ 191265 h 486122"/>
                  <a:gd name="connsiteX3" fmla="*/ 186355 w 238350"/>
                  <a:gd name="connsiteY3" fmla="*/ 123842 h 486122"/>
                  <a:gd name="connsiteX4" fmla="*/ 193539 w 238350"/>
                  <a:gd name="connsiteY4" fmla="*/ 166516 h 486122"/>
                  <a:gd name="connsiteX5" fmla="*/ 186355 w 238350"/>
                  <a:gd name="connsiteY5" fmla="*/ 123842 h 486122"/>
                  <a:gd name="connsiteX6" fmla="*/ 43612 w 238350"/>
                  <a:gd name="connsiteY6" fmla="*/ 291755 h 486122"/>
                  <a:gd name="connsiteX7" fmla="*/ 84802 w 238350"/>
                  <a:gd name="connsiteY7" fmla="*/ 238600 h 486122"/>
                  <a:gd name="connsiteX8" fmla="*/ 51571 w 238350"/>
                  <a:gd name="connsiteY8" fmla="*/ 327964 h 486122"/>
                  <a:gd name="connsiteX9" fmla="*/ 85319 w 238350"/>
                  <a:gd name="connsiteY9" fmla="*/ 453152 h 486122"/>
                  <a:gd name="connsiteX10" fmla="*/ 98885 w 238350"/>
                  <a:gd name="connsiteY10" fmla="*/ 486013 h 486122"/>
                  <a:gd name="connsiteX11" fmla="*/ 232455 w 238350"/>
                  <a:gd name="connsiteY11" fmla="*/ 122245 h 486122"/>
                  <a:gd name="connsiteX12" fmla="*/ 219069 w 238350"/>
                  <a:gd name="connsiteY12" fmla="*/ 99891 h 486122"/>
                  <a:gd name="connsiteX13" fmla="*/ 216253 w 238350"/>
                  <a:gd name="connsiteY13" fmla="*/ 77357 h 486122"/>
                  <a:gd name="connsiteX14" fmla="*/ 127439 w 238350"/>
                  <a:gd name="connsiteY14" fmla="*/ -109 h 486122"/>
                  <a:gd name="connsiteX15" fmla="*/ 83174 w 238350"/>
                  <a:gd name="connsiteY15" fmla="*/ 57913 h 486122"/>
                  <a:gd name="connsiteX16" fmla="*/ 113511 w 238350"/>
                  <a:gd name="connsiteY16" fmla="*/ 80756 h 486122"/>
                  <a:gd name="connsiteX17" fmla="*/ 78445 w 238350"/>
                  <a:gd name="connsiteY17" fmla="*/ 65279 h 486122"/>
                  <a:gd name="connsiteX18" fmla="*/ -32 w 238350"/>
                  <a:gd name="connsiteY18" fmla="*/ 160206 h 486122"/>
                  <a:gd name="connsiteX19" fmla="*/ 43612 w 238350"/>
                  <a:gd name="connsiteY19" fmla="*/ 291755 h 48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350" h="486122">
                    <a:moveTo>
                      <a:pt x="205296" y="191265"/>
                    </a:moveTo>
                    <a:cubicBezTo>
                      <a:pt x="199456" y="219954"/>
                      <a:pt x="185683" y="250317"/>
                      <a:pt x="172091" y="280603"/>
                    </a:cubicBezTo>
                    <a:cubicBezTo>
                      <a:pt x="176122" y="252507"/>
                      <a:pt x="174572" y="212331"/>
                      <a:pt x="205296" y="191265"/>
                    </a:cubicBezTo>
                    <a:close/>
                    <a:moveTo>
                      <a:pt x="186355" y="123842"/>
                    </a:moveTo>
                    <a:cubicBezTo>
                      <a:pt x="198965" y="135895"/>
                      <a:pt x="198991" y="150548"/>
                      <a:pt x="193539" y="166516"/>
                    </a:cubicBezTo>
                    <a:cubicBezTo>
                      <a:pt x="190050" y="152532"/>
                      <a:pt x="183125" y="139294"/>
                      <a:pt x="186355" y="123842"/>
                    </a:cubicBezTo>
                    <a:close/>
                    <a:moveTo>
                      <a:pt x="43612" y="291755"/>
                    </a:moveTo>
                    <a:cubicBezTo>
                      <a:pt x="55499" y="276741"/>
                      <a:pt x="63923" y="235303"/>
                      <a:pt x="84802" y="238600"/>
                    </a:cubicBezTo>
                    <a:cubicBezTo>
                      <a:pt x="88936" y="265074"/>
                      <a:pt x="60176" y="298708"/>
                      <a:pt x="51571" y="327964"/>
                    </a:cubicBezTo>
                    <a:cubicBezTo>
                      <a:pt x="54491" y="368140"/>
                      <a:pt x="74388" y="415088"/>
                      <a:pt x="85319" y="453152"/>
                    </a:cubicBezTo>
                    <a:cubicBezTo>
                      <a:pt x="89040" y="465977"/>
                      <a:pt x="85939" y="484185"/>
                      <a:pt x="98885" y="486013"/>
                    </a:cubicBezTo>
                    <a:cubicBezTo>
                      <a:pt x="152194" y="362345"/>
                      <a:pt x="265246" y="221680"/>
                      <a:pt x="232455" y="122245"/>
                    </a:cubicBezTo>
                    <a:cubicBezTo>
                      <a:pt x="229974" y="114725"/>
                      <a:pt x="221937" y="108004"/>
                      <a:pt x="219069" y="99891"/>
                    </a:cubicBezTo>
                    <a:cubicBezTo>
                      <a:pt x="216433" y="92448"/>
                      <a:pt x="219405" y="84001"/>
                      <a:pt x="216253" y="77357"/>
                    </a:cubicBezTo>
                    <a:cubicBezTo>
                      <a:pt x="202428" y="47895"/>
                      <a:pt x="163176" y="20596"/>
                      <a:pt x="127439" y="-109"/>
                    </a:cubicBezTo>
                    <a:cubicBezTo>
                      <a:pt x="112891" y="19927"/>
                      <a:pt x="97645" y="37284"/>
                      <a:pt x="83174" y="57913"/>
                    </a:cubicBezTo>
                    <a:cubicBezTo>
                      <a:pt x="92037" y="65819"/>
                      <a:pt x="111314" y="71408"/>
                      <a:pt x="113511" y="80756"/>
                    </a:cubicBezTo>
                    <a:cubicBezTo>
                      <a:pt x="103330" y="79675"/>
                      <a:pt x="84053" y="76250"/>
                      <a:pt x="78445" y="65279"/>
                    </a:cubicBezTo>
                    <a:cubicBezTo>
                      <a:pt x="52501" y="97702"/>
                      <a:pt x="27255" y="133551"/>
                      <a:pt x="-32" y="160206"/>
                    </a:cubicBezTo>
                    <a:cubicBezTo>
                      <a:pt x="14206" y="204090"/>
                      <a:pt x="25886" y="248592"/>
                      <a:pt x="43612" y="291755"/>
                    </a:cubicBezTo>
                    <a:close/>
                  </a:path>
                </a:pathLst>
              </a:custGeom>
              <a:grpFill/>
              <a:ln w="25598" cap="flat">
                <a:noFill/>
                <a:prstDash val="solid"/>
                <a:round/>
              </a:ln>
            </p:spPr>
            <p:txBody>
              <a:bodyPr rtlCol="0" anchor="ctr"/>
              <a:lstStyle/>
              <a:p>
                <a:endParaRPr lang="en-LT"/>
              </a:p>
            </p:txBody>
          </p:sp>
          <p:sp>
            <p:nvSpPr>
              <p:cNvPr id="129" name="Freeform 128">
                <a:extLst>
                  <a:ext uri="{FF2B5EF4-FFF2-40B4-BE49-F238E27FC236}">
                    <a16:creationId xmlns:a16="http://schemas.microsoft.com/office/drawing/2014/main" id="{559DD6E4-6B83-7D45-8B1D-2CEE0F4231B3}"/>
                  </a:ext>
                </a:extLst>
              </p:cNvPr>
              <p:cNvSpPr/>
              <p:nvPr/>
            </p:nvSpPr>
            <p:spPr>
              <a:xfrm rot="-1917689">
                <a:off x="5422447" y="2809993"/>
                <a:ext cx="142071" cy="222502"/>
              </a:xfrm>
              <a:custGeom>
                <a:avLst/>
                <a:gdLst>
                  <a:gd name="connsiteX0" fmla="*/ 90363 w 142071"/>
                  <a:gd name="connsiteY0" fmla="*/ 35667 h 222502"/>
                  <a:gd name="connsiteX1" fmla="*/ 46770 w 142071"/>
                  <a:gd name="connsiteY1" fmla="*/ 87303 h 222502"/>
                  <a:gd name="connsiteX2" fmla="*/ 86151 w 142071"/>
                  <a:gd name="connsiteY2" fmla="*/ 26086 h 222502"/>
                  <a:gd name="connsiteX3" fmla="*/ 61396 w 142071"/>
                  <a:gd name="connsiteY3" fmla="*/ -79 h 222502"/>
                  <a:gd name="connsiteX4" fmla="*/ -27 w 142071"/>
                  <a:gd name="connsiteY4" fmla="*/ 95441 h 222502"/>
                  <a:gd name="connsiteX5" fmla="*/ 74316 w 142071"/>
                  <a:gd name="connsiteY5" fmla="*/ 222405 h 222502"/>
                  <a:gd name="connsiteX6" fmla="*/ 142044 w 142071"/>
                  <a:gd name="connsiteY6" fmla="*/ 117125 h 222502"/>
                  <a:gd name="connsiteX7" fmla="*/ 90363 w 142071"/>
                  <a:gd name="connsiteY7" fmla="*/ 35667 h 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71" h="222502">
                    <a:moveTo>
                      <a:pt x="90363" y="35667"/>
                    </a:moveTo>
                    <a:cubicBezTo>
                      <a:pt x="74084" y="44784"/>
                      <a:pt x="64652" y="85448"/>
                      <a:pt x="46770" y="87303"/>
                    </a:cubicBezTo>
                    <a:cubicBezTo>
                      <a:pt x="60879" y="67241"/>
                      <a:pt x="76358" y="38577"/>
                      <a:pt x="86151" y="26086"/>
                    </a:cubicBezTo>
                    <a:cubicBezTo>
                      <a:pt x="76280" y="19030"/>
                      <a:pt x="74704" y="-775"/>
                      <a:pt x="61396" y="-79"/>
                    </a:cubicBezTo>
                    <a:cubicBezTo>
                      <a:pt x="47365" y="22532"/>
                      <a:pt x="19302" y="64794"/>
                      <a:pt x="-27" y="95441"/>
                    </a:cubicBezTo>
                    <a:cubicBezTo>
                      <a:pt x="24082" y="136518"/>
                      <a:pt x="46254" y="189080"/>
                      <a:pt x="74316" y="222405"/>
                    </a:cubicBezTo>
                    <a:cubicBezTo>
                      <a:pt x="96333" y="190986"/>
                      <a:pt x="132328" y="143677"/>
                      <a:pt x="142044" y="117125"/>
                    </a:cubicBezTo>
                    <a:cubicBezTo>
                      <a:pt x="126178" y="109116"/>
                      <a:pt x="122586" y="76692"/>
                      <a:pt x="90363" y="35667"/>
                    </a:cubicBezTo>
                    <a:close/>
                  </a:path>
                </a:pathLst>
              </a:custGeom>
              <a:grpFill/>
              <a:ln w="25598" cap="flat">
                <a:noFill/>
                <a:prstDash val="solid"/>
                <a:round/>
              </a:ln>
            </p:spPr>
            <p:txBody>
              <a:bodyPr rtlCol="0" anchor="ctr"/>
              <a:lstStyle/>
              <a:p>
                <a:endParaRPr lang="en-LT"/>
              </a:p>
            </p:txBody>
          </p:sp>
          <p:sp>
            <p:nvSpPr>
              <p:cNvPr id="130" name="Freeform 129">
                <a:extLst>
                  <a:ext uri="{FF2B5EF4-FFF2-40B4-BE49-F238E27FC236}">
                    <a16:creationId xmlns:a16="http://schemas.microsoft.com/office/drawing/2014/main" id="{E75C082B-974A-0941-91FF-41DAA1D37281}"/>
                  </a:ext>
                </a:extLst>
              </p:cNvPr>
              <p:cNvSpPr/>
              <p:nvPr/>
            </p:nvSpPr>
            <p:spPr>
              <a:xfrm rot="-1917689">
                <a:off x="5803477" y="3184122"/>
                <a:ext cx="111010" cy="234975"/>
              </a:xfrm>
              <a:custGeom>
                <a:avLst/>
                <a:gdLst>
                  <a:gd name="connsiteX0" fmla="*/ 110994 w 111010"/>
                  <a:gd name="connsiteY0" fmla="*/ 212879 h 234975"/>
                  <a:gd name="connsiteX1" fmla="*/ 15772 w 111010"/>
                  <a:gd name="connsiteY1" fmla="*/ -102 h 234975"/>
                  <a:gd name="connsiteX2" fmla="*/ 25746 w 111010"/>
                  <a:gd name="connsiteY2" fmla="*/ 65054 h 234975"/>
                  <a:gd name="connsiteX3" fmla="*/ 54377 w 111010"/>
                  <a:gd name="connsiteY3" fmla="*/ 128228 h 234975"/>
                  <a:gd name="connsiteX4" fmla="*/ -17 w 111010"/>
                  <a:gd name="connsiteY4" fmla="*/ 24415 h 234975"/>
                  <a:gd name="connsiteX5" fmla="*/ 96833 w 111010"/>
                  <a:gd name="connsiteY5" fmla="*/ 234873 h 234975"/>
                  <a:gd name="connsiteX6" fmla="*/ 110994 w 111010"/>
                  <a:gd name="connsiteY6" fmla="*/ 212879 h 2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010" h="234975">
                    <a:moveTo>
                      <a:pt x="110994" y="212879"/>
                    </a:moveTo>
                    <a:cubicBezTo>
                      <a:pt x="78849" y="141877"/>
                      <a:pt x="53344" y="69613"/>
                      <a:pt x="15772" y="-102"/>
                    </a:cubicBezTo>
                    <a:cubicBezTo>
                      <a:pt x="-3298" y="22921"/>
                      <a:pt x="17374" y="47568"/>
                      <a:pt x="25746" y="65054"/>
                    </a:cubicBezTo>
                    <a:cubicBezTo>
                      <a:pt x="36057" y="86661"/>
                      <a:pt x="49029" y="106955"/>
                      <a:pt x="54377" y="128228"/>
                    </a:cubicBezTo>
                    <a:cubicBezTo>
                      <a:pt x="34971" y="93898"/>
                      <a:pt x="22671" y="58024"/>
                      <a:pt x="-17" y="24415"/>
                    </a:cubicBezTo>
                    <a:cubicBezTo>
                      <a:pt x="23266" y="96473"/>
                      <a:pt x="66109" y="164308"/>
                      <a:pt x="96833" y="234873"/>
                    </a:cubicBezTo>
                    <a:cubicBezTo>
                      <a:pt x="101536" y="227507"/>
                      <a:pt x="106265" y="220193"/>
                      <a:pt x="110994" y="212879"/>
                    </a:cubicBezTo>
                    <a:close/>
                  </a:path>
                </a:pathLst>
              </a:custGeom>
              <a:grpFill/>
              <a:ln w="25598" cap="flat">
                <a:noFill/>
                <a:prstDash val="solid"/>
                <a:round/>
              </a:ln>
            </p:spPr>
            <p:txBody>
              <a:bodyPr rtlCol="0" anchor="ctr"/>
              <a:lstStyle/>
              <a:p>
                <a:endParaRPr lang="en-LT"/>
              </a:p>
            </p:txBody>
          </p:sp>
        </p:grpSp>
      </p:grpSp>
      <p:grpSp>
        <p:nvGrpSpPr>
          <p:cNvPr id="178" name="Graphic 177">
            <a:extLst>
              <a:ext uri="{FF2B5EF4-FFF2-40B4-BE49-F238E27FC236}">
                <a16:creationId xmlns:a16="http://schemas.microsoft.com/office/drawing/2014/main" id="{7C8C996E-6E80-1945-98FC-F1FF51AAE6F6}"/>
              </a:ext>
            </a:extLst>
          </p:cNvPr>
          <p:cNvGrpSpPr/>
          <p:nvPr/>
        </p:nvGrpSpPr>
        <p:grpSpPr>
          <a:xfrm>
            <a:off x="2489302" y="2005252"/>
            <a:ext cx="840379" cy="1286928"/>
            <a:chOff x="4990387" y="1748539"/>
            <a:chExt cx="1648380" cy="2630334"/>
          </a:xfrm>
          <a:solidFill>
            <a:schemeClr val="bg1"/>
          </a:solidFill>
        </p:grpSpPr>
        <p:sp>
          <p:nvSpPr>
            <p:cNvPr id="179" name="Freeform 178">
              <a:extLst>
                <a:ext uri="{FF2B5EF4-FFF2-40B4-BE49-F238E27FC236}">
                  <a16:creationId xmlns:a16="http://schemas.microsoft.com/office/drawing/2014/main" id="{7C64DD5A-94DE-6941-B9EC-BF487A263232}"/>
                </a:ext>
              </a:extLst>
            </p:cNvPr>
            <p:cNvSpPr/>
            <p:nvPr/>
          </p:nvSpPr>
          <p:spPr>
            <a:xfrm rot="-1917689">
              <a:off x="5846942" y="3093935"/>
              <a:ext cx="12114" cy="34638"/>
            </a:xfrm>
            <a:custGeom>
              <a:avLst/>
              <a:gdLst>
                <a:gd name="connsiteX0" fmla="*/ 7272 w 12114"/>
                <a:gd name="connsiteY0" fmla="*/ 34535 h 34638"/>
                <a:gd name="connsiteX1" fmla="*/ 1768 w 12114"/>
                <a:gd name="connsiteY1" fmla="*/ -103 h 34638"/>
                <a:gd name="connsiteX2" fmla="*/ 7272 w 12114"/>
                <a:gd name="connsiteY2" fmla="*/ 34535 h 34638"/>
              </a:gdLst>
              <a:ahLst/>
              <a:cxnLst>
                <a:cxn ang="0">
                  <a:pos x="connsiteX0" y="connsiteY0"/>
                </a:cxn>
                <a:cxn ang="0">
                  <a:pos x="connsiteX1" y="connsiteY1"/>
                </a:cxn>
                <a:cxn ang="0">
                  <a:pos x="connsiteX2" y="connsiteY2"/>
                </a:cxn>
              </a:cxnLst>
              <a:rect l="l" t="t" r="r" b="b"/>
              <a:pathLst>
                <a:path w="12114" h="34638">
                  <a:moveTo>
                    <a:pt x="7272" y="34535"/>
                  </a:moveTo>
                  <a:cubicBezTo>
                    <a:pt x="19236" y="19985"/>
                    <a:pt x="5644" y="11023"/>
                    <a:pt x="1768" y="-103"/>
                  </a:cubicBezTo>
                  <a:cubicBezTo>
                    <a:pt x="-1798" y="12645"/>
                    <a:pt x="-67" y="24234"/>
                    <a:pt x="7272" y="34535"/>
                  </a:cubicBezTo>
                  <a:close/>
                </a:path>
              </a:pathLst>
            </a:custGeom>
            <a:grpFill/>
            <a:ln w="25598" cap="flat">
              <a:noFill/>
              <a:prstDash val="solid"/>
              <a:round/>
            </a:ln>
          </p:spPr>
          <p:txBody>
            <a:bodyPr rtlCol="0" anchor="ctr"/>
            <a:lstStyle/>
            <a:p>
              <a:endParaRPr lang="en-LT"/>
            </a:p>
          </p:txBody>
        </p:sp>
        <p:sp>
          <p:nvSpPr>
            <p:cNvPr id="180" name="Freeform 179">
              <a:extLst>
                <a:ext uri="{FF2B5EF4-FFF2-40B4-BE49-F238E27FC236}">
                  <a16:creationId xmlns:a16="http://schemas.microsoft.com/office/drawing/2014/main" id="{8B89C2CF-EF02-A441-9A74-6A4AE4CD5009}"/>
                </a:ext>
              </a:extLst>
            </p:cNvPr>
            <p:cNvSpPr/>
            <p:nvPr/>
          </p:nvSpPr>
          <p:spPr>
            <a:xfrm rot="-1917689">
              <a:off x="5750093" y="1800622"/>
              <a:ext cx="30621" cy="81741"/>
            </a:xfrm>
            <a:custGeom>
              <a:avLst/>
              <a:gdLst>
                <a:gd name="connsiteX0" fmla="*/ -47 w 30621"/>
                <a:gd name="connsiteY0" fmla="*/ -109 h 81741"/>
                <a:gd name="connsiteX1" fmla="*/ 30574 w 30621"/>
                <a:gd name="connsiteY1" fmla="*/ 81633 h 81741"/>
                <a:gd name="connsiteX2" fmla="*/ -47 w 30621"/>
                <a:gd name="connsiteY2" fmla="*/ -109 h 81741"/>
              </a:gdLst>
              <a:ahLst/>
              <a:cxnLst>
                <a:cxn ang="0">
                  <a:pos x="connsiteX0" y="connsiteY0"/>
                </a:cxn>
                <a:cxn ang="0">
                  <a:pos x="connsiteX1" y="connsiteY1"/>
                </a:cxn>
                <a:cxn ang="0">
                  <a:pos x="connsiteX2" y="connsiteY2"/>
                </a:cxn>
              </a:cxnLst>
              <a:rect l="l" t="t" r="r" b="b"/>
              <a:pathLst>
                <a:path w="30621" h="81741">
                  <a:moveTo>
                    <a:pt x="-47" y="-109"/>
                  </a:moveTo>
                  <a:cubicBezTo>
                    <a:pt x="26594" y="20880"/>
                    <a:pt x="26336" y="69735"/>
                    <a:pt x="30574" y="81633"/>
                  </a:cubicBezTo>
                  <a:cubicBezTo>
                    <a:pt x="29463" y="53793"/>
                    <a:pt x="31426" y="14081"/>
                    <a:pt x="-47" y="-109"/>
                  </a:cubicBezTo>
                  <a:close/>
                </a:path>
              </a:pathLst>
            </a:custGeom>
            <a:grpFill/>
            <a:ln w="25598" cap="flat">
              <a:noFill/>
              <a:prstDash val="solid"/>
              <a:round/>
            </a:ln>
          </p:spPr>
          <p:txBody>
            <a:bodyPr rtlCol="0" anchor="ctr"/>
            <a:lstStyle/>
            <a:p>
              <a:endParaRPr lang="en-LT"/>
            </a:p>
          </p:txBody>
        </p:sp>
        <p:sp>
          <p:nvSpPr>
            <p:cNvPr id="181" name="Freeform 180">
              <a:extLst>
                <a:ext uri="{FF2B5EF4-FFF2-40B4-BE49-F238E27FC236}">
                  <a16:creationId xmlns:a16="http://schemas.microsoft.com/office/drawing/2014/main" id="{FCC50013-45D9-4744-864B-A33FE847BC76}"/>
                </a:ext>
              </a:extLst>
            </p:cNvPr>
            <p:cNvSpPr/>
            <p:nvPr/>
          </p:nvSpPr>
          <p:spPr>
            <a:xfrm rot="-1917689">
              <a:off x="5446056" y="3054622"/>
              <a:ext cx="18631" cy="21864"/>
            </a:xfrm>
            <a:custGeom>
              <a:avLst/>
              <a:gdLst>
                <a:gd name="connsiteX0" fmla="*/ 9460 w 18631"/>
                <a:gd name="connsiteY0" fmla="*/ -95 h 21864"/>
                <a:gd name="connsiteX1" fmla="*/ -24 w 18631"/>
                <a:gd name="connsiteY1" fmla="*/ 14584 h 21864"/>
                <a:gd name="connsiteX2" fmla="*/ 5790 w 18631"/>
                <a:gd name="connsiteY2" fmla="*/ 21769 h 21864"/>
                <a:gd name="connsiteX3" fmla="*/ 18607 w 18631"/>
                <a:gd name="connsiteY3" fmla="*/ 12679 h 21864"/>
                <a:gd name="connsiteX4" fmla="*/ 9460 w 18631"/>
                <a:gd name="connsiteY4" fmla="*/ -95 h 21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1" h="21864">
                  <a:moveTo>
                    <a:pt x="9460" y="-95"/>
                  </a:moveTo>
                  <a:cubicBezTo>
                    <a:pt x="6281" y="4798"/>
                    <a:pt x="3154" y="9717"/>
                    <a:pt x="-24" y="14584"/>
                  </a:cubicBezTo>
                  <a:cubicBezTo>
                    <a:pt x="3439" y="16645"/>
                    <a:pt x="4679" y="19194"/>
                    <a:pt x="5790" y="21769"/>
                  </a:cubicBezTo>
                  <a:cubicBezTo>
                    <a:pt x="10390" y="20147"/>
                    <a:pt x="14007" y="14275"/>
                    <a:pt x="18607" y="12679"/>
                  </a:cubicBezTo>
                  <a:cubicBezTo>
                    <a:pt x="14602" y="8609"/>
                    <a:pt x="15868" y="3433"/>
                    <a:pt x="9460" y="-95"/>
                  </a:cubicBezTo>
                  <a:close/>
                </a:path>
              </a:pathLst>
            </a:custGeom>
            <a:grpFill/>
            <a:ln w="25598" cap="flat">
              <a:noFill/>
              <a:prstDash val="solid"/>
              <a:round/>
            </a:ln>
          </p:spPr>
          <p:txBody>
            <a:bodyPr rtlCol="0" anchor="ctr"/>
            <a:lstStyle/>
            <a:p>
              <a:endParaRPr lang="en-LT"/>
            </a:p>
          </p:txBody>
        </p:sp>
        <p:sp>
          <p:nvSpPr>
            <p:cNvPr id="182" name="Freeform 181">
              <a:extLst>
                <a:ext uri="{FF2B5EF4-FFF2-40B4-BE49-F238E27FC236}">
                  <a16:creationId xmlns:a16="http://schemas.microsoft.com/office/drawing/2014/main" id="{EA8571BC-48D2-014F-A7BD-98AAEC1325A0}"/>
                </a:ext>
              </a:extLst>
            </p:cNvPr>
            <p:cNvSpPr/>
            <p:nvPr/>
          </p:nvSpPr>
          <p:spPr>
            <a:xfrm rot="-1917689">
              <a:off x="5500118" y="2744212"/>
              <a:ext cx="21617" cy="19191"/>
            </a:xfrm>
            <a:custGeom>
              <a:avLst/>
              <a:gdLst>
                <a:gd name="connsiteX0" fmla="*/ 21573 w 21617"/>
                <a:gd name="connsiteY0" fmla="*/ -98 h 19191"/>
                <a:gd name="connsiteX1" fmla="*/ -30 w 21617"/>
                <a:gd name="connsiteY1" fmla="*/ 17234 h 19191"/>
                <a:gd name="connsiteX2" fmla="*/ 21573 w 21617"/>
                <a:gd name="connsiteY2" fmla="*/ -98 h 19191"/>
              </a:gdLst>
              <a:ahLst/>
              <a:cxnLst>
                <a:cxn ang="0">
                  <a:pos x="connsiteX0" y="connsiteY0"/>
                </a:cxn>
                <a:cxn ang="0">
                  <a:pos x="connsiteX1" y="connsiteY1"/>
                </a:cxn>
                <a:cxn ang="0">
                  <a:pos x="connsiteX2" y="connsiteY2"/>
                </a:cxn>
              </a:cxnLst>
              <a:rect l="l" t="t" r="r" b="b"/>
              <a:pathLst>
                <a:path w="21617" h="19191">
                  <a:moveTo>
                    <a:pt x="21573" y="-98"/>
                  </a:moveTo>
                  <a:cubicBezTo>
                    <a:pt x="14131" y="4666"/>
                    <a:pt x="6378" y="7757"/>
                    <a:pt x="-30" y="17234"/>
                  </a:cubicBezTo>
                  <a:cubicBezTo>
                    <a:pt x="8988" y="25655"/>
                    <a:pt x="22089" y="2915"/>
                    <a:pt x="21573" y="-98"/>
                  </a:cubicBezTo>
                  <a:close/>
                </a:path>
              </a:pathLst>
            </a:custGeom>
            <a:grpFill/>
            <a:ln w="25598" cap="flat">
              <a:noFill/>
              <a:prstDash val="solid"/>
              <a:round/>
            </a:ln>
          </p:spPr>
          <p:txBody>
            <a:bodyPr rtlCol="0" anchor="ctr"/>
            <a:lstStyle/>
            <a:p>
              <a:endParaRPr lang="en-LT"/>
            </a:p>
          </p:txBody>
        </p:sp>
        <p:sp>
          <p:nvSpPr>
            <p:cNvPr id="183" name="Freeform 182">
              <a:extLst>
                <a:ext uri="{FF2B5EF4-FFF2-40B4-BE49-F238E27FC236}">
                  <a16:creationId xmlns:a16="http://schemas.microsoft.com/office/drawing/2014/main" id="{6DE9912A-6858-2F43-8C7A-6EE2494DBC1D}"/>
                </a:ext>
              </a:extLst>
            </p:cNvPr>
            <p:cNvSpPr/>
            <p:nvPr/>
          </p:nvSpPr>
          <p:spPr>
            <a:xfrm rot="-1917689">
              <a:off x="5804793" y="3071917"/>
              <a:ext cx="15788" cy="24103"/>
            </a:xfrm>
            <a:custGeom>
              <a:avLst/>
              <a:gdLst>
                <a:gd name="connsiteX0" fmla="*/ -21 w 15788"/>
                <a:gd name="connsiteY0" fmla="*/ -21 h 24103"/>
                <a:gd name="connsiteX1" fmla="*/ 15767 w 15788"/>
                <a:gd name="connsiteY1" fmla="*/ 23878 h 24103"/>
                <a:gd name="connsiteX2" fmla="*/ -21 w 15788"/>
                <a:gd name="connsiteY2" fmla="*/ -21 h 24103"/>
              </a:gdLst>
              <a:ahLst/>
              <a:cxnLst>
                <a:cxn ang="0">
                  <a:pos x="connsiteX0" y="connsiteY0"/>
                </a:cxn>
                <a:cxn ang="0">
                  <a:pos x="connsiteX1" y="connsiteY1"/>
                </a:cxn>
                <a:cxn ang="0">
                  <a:pos x="connsiteX2" y="connsiteY2"/>
                </a:cxn>
              </a:cxnLst>
              <a:rect l="l" t="t" r="r" b="b"/>
              <a:pathLst>
                <a:path w="15788" h="24103">
                  <a:moveTo>
                    <a:pt x="-21" y="-21"/>
                  </a:moveTo>
                  <a:cubicBezTo>
                    <a:pt x="5121" y="6675"/>
                    <a:pt x="3364" y="25706"/>
                    <a:pt x="15767" y="23878"/>
                  </a:cubicBezTo>
                  <a:cubicBezTo>
                    <a:pt x="10289" y="17337"/>
                    <a:pt x="10392" y="-1489"/>
                    <a:pt x="-21" y="-21"/>
                  </a:cubicBezTo>
                  <a:close/>
                </a:path>
              </a:pathLst>
            </a:custGeom>
            <a:grpFill/>
            <a:ln w="25598" cap="flat">
              <a:noFill/>
              <a:prstDash val="solid"/>
              <a:round/>
            </a:ln>
          </p:spPr>
          <p:txBody>
            <a:bodyPr rtlCol="0" anchor="ctr"/>
            <a:lstStyle/>
            <a:p>
              <a:endParaRPr lang="en-LT"/>
            </a:p>
          </p:txBody>
        </p:sp>
        <p:sp>
          <p:nvSpPr>
            <p:cNvPr id="184" name="Freeform 183">
              <a:extLst>
                <a:ext uri="{FF2B5EF4-FFF2-40B4-BE49-F238E27FC236}">
                  <a16:creationId xmlns:a16="http://schemas.microsoft.com/office/drawing/2014/main" id="{09A7FDEB-4A62-4E46-A4D7-229341B52490}"/>
                </a:ext>
              </a:extLst>
            </p:cNvPr>
            <p:cNvSpPr/>
            <p:nvPr/>
          </p:nvSpPr>
          <p:spPr>
            <a:xfrm rot="-1917689">
              <a:off x="5673228" y="1831202"/>
              <a:ext cx="138556" cy="290473"/>
            </a:xfrm>
            <a:custGeom>
              <a:avLst/>
              <a:gdLst>
                <a:gd name="connsiteX0" fmla="*/ 59983 w 138556"/>
                <a:gd name="connsiteY0" fmla="*/ 134017 h 290473"/>
                <a:gd name="connsiteX1" fmla="*/ 72412 w 138556"/>
                <a:gd name="connsiteY1" fmla="*/ 103962 h 290473"/>
                <a:gd name="connsiteX2" fmla="*/ 28483 w 138556"/>
                <a:gd name="connsiteY2" fmla="*/ -108 h 290473"/>
                <a:gd name="connsiteX3" fmla="*/ -45 w 138556"/>
                <a:gd name="connsiteY3" fmla="*/ 33501 h 290473"/>
                <a:gd name="connsiteX4" fmla="*/ 15046 w 138556"/>
                <a:gd name="connsiteY4" fmla="*/ 63838 h 290473"/>
                <a:gd name="connsiteX5" fmla="*/ 28509 w 138556"/>
                <a:gd name="connsiteY5" fmla="*/ 48309 h 290473"/>
                <a:gd name="connsiteX6" fmla="*/ 15925 w 138556"/>
                <a:gd name="connsiteY6" fmla="*/ 67856 h 290473"/>
                <a:gd name="connsiteX7" fmla="*/ 115411 w 138556"/>
                <a:gd name="connsiteY7" fmla="*/ 290366 h 290473"/>
                <a:gd name="connsiteX8" fmla="*/ 138512 w 138556"/>
                <a:gd name="connsiteY8" fmla="*/ 270613 h 290473"/>
                <a:gd name="connsiteX9" fmla="*/ 74143 w 138556"/>
                <a:gd name="connsiteY9" fmla="*/ 111997 h 290473"/>
                <a:gd name="connsiteX10" fmla="*/ 59983 w 138556"/>
                <a:gd name="connsiteY10" fmla="*/ 134017 h 29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556" h="290473">
                  <a:moveTo>
                    <a:pt x="59983" y="134017"/>
                  </a:moveTo>
                  <a:cubicBezTo>
                    <a:pt x="58820" y="125132"/>
                    <a:pt x="64376" y="114856"/>
                    <a:pt x="72412" y="103962"/>
                  </a:cubicBezTo>
                  <a:cubicBezTo>
                    <a:pt x="58872" y="68989"/>
                    <a:pt x="43781" y="34428"/>
                    <a:pt x="28483" y="-108"/>
                  </a:cubicBezTo>
                  <a:cubicBezTo>
                    <a:pt x="18121" y="7335"/>
                    <a:pt x="8612" y="18435"/>
                    <a:pt x="-45" y="33501"/>
                  </a:cubicBezTo>
                  <a:cubicBezTo>
                    <a:pt x="6700" y="43184"/>
                    <a:pt x="8224" y="54104"/>
                    <a:pt x="15046" y="63838"/>
                  </a:cubicBezTo>
                  <a:cubicBezTo>
                    <a:pt x="19749" y="59718"/>
                    <a:pt x="22385" y="45811"/>
                    <a:pt x="28509" y="48309"/>
                  </a:cubicBezTo>
                  <a:cubicBezTo>
                    <a:pt x="24323" y="54799"/>
                    <a:pt x="20111" y="61366"/>
                    <a:pt x="15925" y="67856"/>
                  </a:cubicBezTo>
                  <a:cubicBezTo>
                    <a:pt x="49828" y="141897"/>
                    <a:pt x="77425" y="217303"/>
                    <a:pt x="115411" y="290366"/>
                  </a:cubicBezTo>
                  <a:cubicBezTo>
                    <a:pt x="122698" y="281893"/>
                    <a:pt x="131819" y="281687"/>
                    <a:pt x="138512" y="270613"/>
                  </a:cubicBezTo>
                  <a:cubicBezTo>
                    <a:pt x="120475" y="216994"/>
                    <a:pt x="99054" y="164122"/>
                    <a:pt x="74143" y="111997"/>
                  </a:cubicBezTo>
                  <a:cubicBezTo>
                    <a:pt x="66546" y="118745"/>
                    <a:pt x="70991" y="133579"/>
                    <a:pt x="59983" y="134017"/>
                  </a:cubicBezTo>
                  <a:close/>
                </a:path>
              </a:pathLst>
            </a:custGeom>
            <a:grpFill/>
            <a:ln w="25598" cap="flat">
              <a:noFill/>
              <a:prstDash val="solid"/>
              <a:round/>
            </a:ln>
          </p:spPr>
          <p:txBody>
            <a:bodyPr rtlCol="0" anchor="ctr"/>
            <a:lstStyle/>
            <a:p>
              <a:endParaRPr lang="en-LT"/>
            </a:p>
          </p:txBody>
        </p:sp>
        <p:sp>
          <p:nvSpPr>
            <p:cNvPr id="185" name="Freeform 184">
              <a:extLst>
                <a:ext uri="{FF2B5EF4-FFF2-40B4-BE49-F238E27FC236}">
                  <a16:creationId xmlns:a16="http://schemas.microsoft.com/office/drawing/2014/main" id="{1E1C1302-A925-C54D-A8FD-F52359A7A60C}"/>
                </a:ext>
              </a:extLst>
            </p:cNvPr>
            <p:cNvSpPr/>
            <p:nvPr/>
          </p:nvSpPr>
          <p:spPr>
            <a:xfrm rot="-1917689">
              <a:off x="5637861" y="1895610"/>
              <a:ext cx="163883" cy="281205"/>
            </a:xfrm>
            <a:custGeom>
              <a:avLst/>
              <a:gdLst>
                <a:gd name="connsiteX0" fmla="*/ 33578 w 163883"/>
                <a:gd name="connsiteY0" fmla="*/ 171283 h 281205"/>
                <a:gd name="connsiteX1" fmla="*/ 59005 w 163883"/>
                <a:gd name="connsiteY1" fmla="*/ 228971 h 281205"/>
                <a:gd name="connsiteX2" fmla="*/ 59884 w 163883"/>
                <a:gd name="connsiteY2" fmla="*/ 233014 h 281205"/>
                <a:gd name="connsiteX3" fmla="*/ 32958 w 163883"/>
                <a:gd name="connsiteY3" fmla="*/ 177747 h 281205"/>
                <a:gd name="connsiteX4" fmla="*/ 33578 w 163883"/>
                <a:gd name="connsiteY4" fmla="*/ 171283 h 281205"/>
                <a:gd name="connsiteX5" fmla="*/ 114536 w 163883"/>
                <a:gd name="connsiteY5" fmla="*/ 212617 h 281205"/>
                <a:gd name="connsiteX6" fmla="*/ 99316 w 163883"/>
                <a:gd name="connsiteY6" fmla="*/ 220189 h 281205"/>
                <a:gd name="connsiteX7" fmla="*/ 114536 w 163883"/>
                <a:gd name="connsiteY7" fmla="*/ 212617 h 281205"/>
                <a:gd name="connsiteX8" fmla="*/ 163840 w 163883"/>
                <a:gd name="connsiteY8" fmla="*/ 254518 h 281205"/>
                <a:gd name="connsiteX9" fmla="*/ 57325 w 163883"/>
                <a:gd name="connsiteY9" fmla="*/ -107 h 281205"/>
                <a:gd name="connsiteX10" fmla="*/ 14792 w 163883"/>
                <a:gd name="connsiteY10" fmla="*/ 249058 h 281205"/>
                <a:gd name="connsiteX11" fmla="*/ 163840 w 163883"/>
                <a:gd name="connsiteY11" fmla="*/ 254518 h 2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883" h="281205">
                  <a:moveTo>
                    <a:pt x="33578" y="171283"/>
                  </a:moveTo>
                  <a:cubicBezTo>
                    <a:pt x="39030" y="191216"/>
                    <a:pt x="42932" y="211433"/>
                    <a:pt x="59005" y="228971"/>
                  </a:cubicBezTo>
                  <a:cubicBezTo>
                    <a:pt x="63760" y="231057"/>
                    <a:pt x="62494" y="234508"/>
                    <a:pt x="59884" y="233014"/>
                  </a:cubicBezTo>
                  <a:cubicBezTo>
                    <a:pt x="40994" y="216712"/>
                    <a:pt x="34508" y="197809"/>
                    <a:pt x="32958" y="177747"/>
                  </a:cubicBezTo>
                  <a:cubicBezTo>
                    <a:pt x="30581" y="176202"/>
                    <a:pt x="32984" y="173601"/>
                    <a:pt x="33578" y="171283"/>
                  </a:cubicBezTo>
                  <a:close/>
                  <a:moveTo>
                    <a:pt x="114536" y="212617"/>
                  </a:moveTo>
                  <a:cubicBezTo>
                    <a:pt x="110738" y="221090"/>
                    <a:pt x="103735" y="214883"/>
                    <a:pt x="99316" y="220189"/>
                  </a:cubicBezTo>
                  <a:cubicBezTo>
                    <a:pt x="95569" y="214729"/>
                    <a:pt x="108877" y="207029"/>
                    <a:pt x="114536" y="212617"/>
                  </a:cubicBezTo>
                  <a:close/>
                  <a:moveTo>
                    <a:pt x="163840" y="254518"/>
                  </a:moveTo>
                  <a:cubicBezTo>
                    <a:pt x="133684" y="168450"/>
                    <a:pt x="91719" y="84983"/>
                    <a:pt x="57325" y="-107"/>
                  </a:cubicBezTo>
                  <a:cubicBezTo>
                    <a:pt x="2259" y="52070"/>
                    <a:pt x="-15855" y="210660"/>
                    <a:pt x="14792" y="249058"/>
                  </a:cubicBezTo>
                  <a:cubicBezTo>
                    <a:pt x="56990" y="302059"/>
                    <a:pt x="120531" y="278675"/>
                    <a:pt x="163840" y="254518"/>
                  </a:cubicBezTo>
                  <a:close/>
                </a:path>
              </a:pathLst>
            </a:custGeom>
            <a:grpFill/>
            <a:ln w="25598" cap="flat">
              <a:noFill/>
              <a:prstDash val="solid"/>
              <a:round/>
            </a:ln>
          </p:spPr>
          <p:txBody>
            <a:bodyPr rtlCol="0" anchor="ctr"/>
            <a:lstStyle/>
            <a:p>
              <a:endParaRPr lang="en-LT"/>
            </a:p>
          </p:txBody>
        </p:sp>
        <p:sp>
          <p:nvSpPr>
            <p:cNvPr id="186" name="Freeform 185">
              <a:extLst>
                <a:ext uri="{FF2B5EF4-FFF2-40B4-BE49-F238E27FC236}">
                  <a16:creationId xmlns:a16="http://schemas.microsoft.com/office/drawing/2014/main" id="{6DFF6281-AF71-D247-B9BA-E06C0D85C05B}"/>
                </a:ext>
              </a:extLst>
            </p:cNvPr>
            <p:cNvSpPr/>
            <p:nvPr/>
          </p:nvSpPr>
          <p:spPr>
            <a:xfrm rot="-1917689">
              <a:off x="5622252" y="2299690"/>
              <a:ext cx="34186" cy="45750"/>
            </a:xfrm>
            <a:custGeom>
              <a:avLst/>
              <a:gdLst>
                <a:gd name="connsiteX0" fmla="*/ 34149 w 34186"/>
                <a:gd name="connsiteY0" fmla="*/ 13146 h 45750"/>
                <a:gd name="connsiteX1" fmla="*/ -38 w 34186"/>
                <a:gd name="connsiteY1" fmla="*/ 1660 h 45750"/>
                <a:gd name="connsiteX2" fmla="*/ 20169 w 34186"/>
                <a:gd name="connsiteY2" fmla="*/ 45647 h 45750"/>
                <a:gd name="connsiteX3" fmla="*/ 34149 w 34186"/>
                <a:gd name="connsiteY3" fmla="*/ 13146 h 45750"/>
              </a:gdLst>
              <a:ahLst/>
              <a:cxnLst>
                <a:cxn ang="0">
                  <a:pos x="connsiteX0" y="connsiteY0"/>
                </a:cxn>
                <a:cxn ang="0">
                  <a:pos x="connsiteX1" y="connsiteY1"/>
                </a:cxn>
                <a:cxn ang="0">
                  <a:pos x="connsiteX2" y="connsiteY2"/>
                </a:cxn>
                <a:cxn ang="0">
                  <a:pos x="connsiteX3" y="connsiteY3"/>
                </a:cxn>
              </a:cxnLst>
              <a:rect l="l" t="t" r="r" b="b"/>
              <a:pathLst>
                <a:path w="34186" h="45750">
                  <a:moveTo>
                    <a:pt x="34149" y="13146"/>
                  </a:moveTo>
                  <a:cubicBezTo>
                    <a:pt x="22443" y="7789"/>
                    <a:pt x="9109" y="-4701"/>
                    <a:pt x="-38" y="1660"/>
                  </a:cubicBezTo>
                  <a:cubicBezTo>
                    <a:pt x="10169" y="15567"/>
                    <a:pt x="11125" y="31534"/>
                    <a:pt x="20169" y="45647"/>
                  </a:cubicBezTo>
                  <a:cubicBezTo>
                    <a:pt x="26836" y="34367"/>
                    <a:pt x="31668" y="23473"/>
                    <a:pt x="34149" y="13146"/>
                  </a:cubicBezTo>
                  <a:close/>
                </a:path>
              </a:pathLst>
            </a:custGeom>
            <a:grpFill/>
            <a:ln w="25598" cap="flat">
              <a:noFill/>
              <a:prstDash val="solid"/>
              <a:round/>
            </a:ln>
          </p:spPr>
          <p:txBody>
            <a:bodyPr rtlCol="0" anchor="ctr"/>
            <a:lstStyle/>
            <a:p>
              <a:endParaRPr lang="en-LT"/>
            </a:p>
          </p:txBody>
        </p:sp>
        <p:sp>
          <p:nvSpPr>
            <p:cNvPr id="187" name="Freeform 186">
              <a:extLst>
                <a:ext uri="{FF2B5EF4-FFF2-40B4-BE49-F238E27FC236}">
                  <a16:creationId xmlns:a16="http://schemas.microsoft.com/office/drawing/2014/main" id="{57159CFD-8570-404C-81F4-8ACEBE99E4DC}"/>
                </a:ext>
              </a:extLst>
            </p:cNvPr>
            <p:cNvSpPr/>
            <p:nvPr/>
          </p:nvSpPr>
          <p:spPr>
            <a:xfrm rot="-1917689">
              <a:off x="5598406" y="2289163"/>
              <a:ext cx="41249" cy="96910"/>
            </a:xfrm>
            <a:custGeom>
              <a:avLst/>
              <a:gdLst>
                <a:gd name="connsiteX0" fmla="*/ -38 w 41249"/>
                <a:gd name="connsiteY0" fmla="*/ -103 h 96910"/>
                <a:gd name="connsiteX1" fmla="*/ 38103 w 41249"/>
                <a:gd name="connsiteY1" fmla="*/ 96807 h 96910"/>
                <a:gd name="connsiteX2" fmla="*/ -38 w 41249"/>
                <a:gd name="connsiteY2" fmla="*/ -103 h 96910"/>
              </a:gdLst>
              <a:ahLst/>
              <a:cxnLst>
                <a:cxn ang="0">
                  <a:pos x="connsiteX0" y="connsiteY0"/>
                </a:cxn>
                <a:cxn ang="0">
                  <a:pos x="connsiteX1" y="connsiteY1"/>
                </a:cxn>
                <a:cxn ang="0">
                  <a:pos x="connsiteX2" y="connsiteY2"/>
                </a:cxn>
              </a:cxnLst>
              <a:rect l="l" t="t" r="r" b="b"/>
              <a:pathLst>
                <a:path w="41249" h="96910">
                  <a:moveTo>
                    <a:pt x="-38" y="-103"/>
                  </a:moveTo>
                  <a:cubicBezTo>
                    <a:pt x="7404" y="33325"/>
                    <a:pt x="22934" y="65028"/>
                    <a:pt x="38103" y="96807"/>
                  </a:cubicBezTo>
                  <a:cubicBezTo>
                    <a:pt x="48103" y="59542"/>
                    <a:pt x="33606" y="27634"/>
                    <a:pt x="-38" y="-103"/>
                  </a:cubicBezTo>
                  <a:close/>
                </a:path>
              </a:pathLst>
            </a:custGeom>
            <a:grpFill/>
            <a:ln w="25598" cap="flat">
              <a:noFill/>
              <a:prstDash val="solid"/>
              <a:round/>
            </a:ln>
          </p:spPr>
          <p:txBody>
            <a:bodyPr rtlCol="0" anchor="ctr"/>
            <a:lstStyle/>
            <a:p>
              <a:endParaRPr lang="en-LT"/>
            </a:p>
          </p:txBody>
        </p:sp>
        <p:sp>
          <p:nvSpPr>
            <p:cNvPr id="188" name="Freeform 187">
              <a:extLst>
                <a:ext uri="{FF2B5EF4-FFF2-40B4-BE49-F238E27FC236}">
                  <a16:creationId xmlns:a16="http://schemas.microsoft.com/office/drawing/2014/main" id="{BA074575-5D08-4643-AC9E-A212217A6A28}"/>
                </a:ext>
              </a:extLst>
            </p:cNvPr>
            <p:cNvSpPr/>
            <p:nvPr/>
          </p:nvSpPr>
          <p:spPr>
            <a:xfrm rot="-1917689">
              <a:off x="5583680" y="2288598"/>
              <a:ext cx="58657" cy="140407"/>
            </a:xfrm>
            <a:custGeom>
              <a:avLst/>
              <a:gdLst>
                <a:gd name="connsiteX0" fmla="*/ 50067 w 58657"/>
                <a:gd name="connsiteY0" fmla="*/ 140305 h 140407"/>
                <a:gd name="connsiteX1" fmla="*/ 58620 w 58657"/>
                <a:gd name="connsiteY1" fmla="*/ 121608 h 140407"/>
                <a:gd name="connsiteX2" fmla="*/ 8696 w 58657"/>
                <a:gd name="connsiteY2" fmla="*/ -103 h 140407"/>
                <a:gd name="connsiteX3" fmla="*/ -38 w 58657"/>
                <a:gd name="connsiteY3" fmla="*/ 8087 h 140407"/>
                <a:gd name="connsiteX4" fmla="*/ 50067 w 58657"/>
                <a:gd name="connsiteY4" fmla="*/ 140305 h 14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7" h="140407">
                  <a:moveTo>
                    <a:pt x="50067" y="140305"/>
                  </a:moveTo>
                  <a:cubicBezTo>
                    <a:pt x="52987" y="134099"/>
                    <a:pt x="52134" y="128639"/>
                    <a:pt x="58620" y="121608"/>
                  </a:cubicBezTo>
                  <a:cubicBezTo>
                    <a:pt x="42082" y="81021"/>
                    <a:pt x="28749" y="39712"/>
                    <a:pt x="8696" y="-103"/>
                  </a:cubicBezTo>
                  <a:cubicBezTo>
                    <a:pt x="5802" y="2653"/>
                    <a:pt x="2236" y="2318"/>
                    <a:pt x="-38" y="8087"/>
                  </a:cubicBezTo>
                  <a:cubicBezTo>
                    <a:pt x="13193" y="52949"/>
                    <a:pt x="34692" y="95906"/>
                    <a:pt x="50067" y="140305"/>
                  </a:cubicBezTo>
                  <a:close/>
                </a:path>
              </a:pathLst>
            </a:custGeom>
            <a:grpFill/>
            <a:ln w="25598" cap="flat">
              <a:noFill/>
              <a:prstDash val="solid"/>
              <a:round/>
            </a:ln>
          </p:spPr>
          <p:txBody>
            <a:bodyPr rtlCol="0" anchor="ctr"/>
            <a:lstStyle/>
            <a:p>
              <a:endParaRPr lang="en-LT"/>
            </a:p>
          </p:txBody>
        </p:sp>
        <p:sp>
          <p:nvSpPr>
            <p:cNvPr id="189" name="Freeform 188">
              <a:extLst>
                <a:ext uri="{FF2B5EF4-FFF2-40B4-BE49-F238E27FC236}">
                  <a16:creationId xmlns:a16="http://schemas.microsoft.com/office/drawing/2014/main" id="{7C8F1C16-8837-0F4C-848E-4D81DA78D26D}"/>
                </a:ext>
              </a:extLst>
            </p:cNvPr>
            <p:cNvSpPr/>
            <p:nvPr/>
          </p:nvSpPr>
          <p:spPr>
            <a:xfrm rot="-1917689">
              <a:off x="5715833" y="2310043"/>
              <a:ext cx="70828" cy="68150"/>
            </a:xfrm>
            <a:custGeom>
              <a:avLst/>
              <a:gdLst>
                <a:gd name="connsiteX0" fmla="*/ 35494 w 70828"/>
                <a:gd name="connsiteY0" fmla="*/ -106 h 68150"/>
                <a:gd name="connsiteX1" fmla="*/ -37 w 70828"/>
                <a:gd name="connsiteY1" fmla="*/ 49702 h 68150"/>
                <a:gd name="connsiteX2" fmla="*/ 58569 w 70828"/>
                <a:gd name="connsiteY2" fmla="*/ 66441 h 68150"/>
                <a:gd name="connsiteX3" fmla="*/ 70792 w 70828"/>
                <a:gd name="connsiteY3" fmla="*/ 25931 h 68150"/>
                <a:gd name="connsiteX4" fmla="*/ 35494 w 70828"/>
                <a:gd name="connsiteY4" fmla="*/ -106 h 6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28" h="68150">
                  <a:moveTo>
                    <a:pt x="35494" y="-106"/>
                  </a:moveTo>
                  <a:cubicBezTo>
                    <a:pt x="23245" y="13389"/>
                    <a:pt x="4666" y="32292"/>
                    <a:pt x="-37" y="49702"/>
                  </a:cubicBezTo>
                  <a:cubicBezTo>
                    <a:pt x="12651" y="57428"/>
                    <a:pt x="42316" y="73086"/>
                    <a:pt x="58569" y="66441"/>
                  </a:cubicBezTo>
                  <a:cubicBezTo>
                    <a:pt x="63014" y="52818"/>
                    <a:pt x="68854" y="38937"/>
                    <a:pt x="70792" y="25931"/>
                  </a:cubicBezTo>
                  <a:cubicBezTo>
                    <a:pt x="65055" y="16634"/>
                    <a:pt x="49602" y="616"/>
                    <a:pt x="35494" y="-106"/>
                  </a:cubicBezTo>
                  <a:close/>
                </a:path>
              </a:pathLst>
            </a:custGeom>
            <a:grpFill/>
            <a:ln w="25598" cap="flat">
              <a:noFill/>
              <a:prstDash val="solid"/>
              <a:round/>
            </a:ln>
          </p:spPr>
          <p:txBody>
            <a:bodyPr rtlCol="0" anchor="ctr"/>
            <a:lstStyle/>
            <a:p>
              <a:endParaRPr lang="en-LT"/>
            </a:p>
          </p:txBody>
        </p:sp>
        <p:sp>
          <p:nvSpPr>
            <p:cNvPr id="190" name="Freeform 189">
              <a:extLst>
                <a:ext uri="{FF2B5EF4-FFF2-40B4-BE49-F238E27FC236}">
                  <a16:creationId xmlns:a16="http://schemas.microsoft.com/office/drawing/2014/main" id="{7D9E1BC0-6B45-C843-99B7-0B560FFC0828}"/>
                </a:ext>
              </a:extLst>
            </p:cNvPr>
            <p:cNvSpPr/>
            <p:nvPr/>
          </p:nvSpPr>
          <p:spPr>
            <a:xfrm rot="-1917689">
              <a:off x="5556386" y="2306445"/>
              <a:ext cx="89847" cy="172863"/>
            </a:xfrm>
            <a:custGeom>
              <a:avLst/>
              <a:gdLst>
                <a:gd name="connsiteX0" fmla="*/ 34718 w 89847"/>
                <a:gd name="connsiteY0" fmla="*/ 47754 h 172863"/>
                <a:gd name="connsiteX1" fmla="*/ 47897 w 89847"/>
                <a:gd name="connsiteY1" fmla="*/ 59601 h 172863"/>
                <a:gd name="connsiteX2" fmla="*/ 34718 w 89847"/>
                <a:gd name="connsiteY2" fmla="*/ 47754 h 172863"/>
                <a:gd name="connsiteX3" fmla="*/ -37 w 89847"/>
                <a:gd name="connsiteY3" fmla="*/ 4771 h 172863"/>
                <a:gd name="connsiteX4" fmla="*/ 78983 w 89847"/>
                <a:gd name="connsiteY4" fmla="*/ 172761 h 172863"/>
                <a:gd name="connsiteX5" fmla="*/ 89810 w 89847"/>
                <a:gd name="connsiteY5" fmla="*/ 145153 h 172863"/>
                <a:gd name="connsiteX6" fmla="*/ 30584 w 89847"/>
                <a:gd name="connsiteY6" fmla="*/ 187 h 172863"/>
                <a:gd name="connsiteX7" fmla="*/ -37 w 89847"/>
                <a:gd name="connsiteY7" fmla="*/ 4771 h 17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47" h="172863">
                  <a:moveTo>
                    <a:pt x="34718" y="47754"/>
                  </a:moveTo>
                  <a:cubicBezTo>
                    <a:pt x="43272" y="45642"/>
                    <a:pt x="45882" y="54167"/>
                    <a:pt x="47897" y="59601"/>
                  </a:cubicBezTo>
                  <a:cubicBezTo>
                    <a:pt x="45339" y="63283"/>
                    <a:pt x="26140" y="53265"/>
                    <a:pt x="34718" y="47754"/>
                  </a:cubicBezTo>
                  <a:close/>
                  <a:moveTo>
                    <a:pt x="-37" y="4771"/>
                  </a:moveTo>
                  <a:cubicBezTo>
                    <a:pt x="28439" y="60296"/>
                    <a:pt x="52419" y="116799"/>
                    <a:pt x="78983" y="172761"/>
                  </a:cubicBezTo>
                  <a:cubicBezTo>
                    <a:pt x="86167" y="162820"/>
                    <a:pt x="85392" y="154554"/>
                    <a:pt x="89810" y="145153"/>
                  </a:cubicBezTo>
                  <a:cubicBezTo>
                    <a:pt x="68983" y="97072"/>
                    <a:pt x="55830" y="47342"/>
                    <a:pt x="30584" y="187"/>
                  </a:cubicBezTo>
                  <a:cubicBezTo>
                    <a:pt x="20868" y="4076"/>
                    <a:pt x="8284" y="-5350"/>
                    <a:pt x="-37" y="4771"/>
                  </a:cubicBezTo>
                  <a:close/>
                </a:path>
              </a:pathLst>
            </a:custGeom>
            <a:grpFill/>
            <a:ln w="25598" cap="flat">
              <a:noFill/>
              <a:prstDash val="solid"/>
              <a:round/>
            </a:ln>
          </p:spPr>
          <p:txBody>
            <a:bodyPr rtlCol="0" anchor="ctr"/>
            <a:lstStyle/>
            <a:p>
              <a:endParaRPr lang="en-LT"/>
            </a:p>
          </p:txBody>
        </p:sp>
        <p:sp>
          <p:nvSpPr>
            <p:cNvPr id="191" name="Freeform 190">
              <a:extLst>
                <a:ext uri="{FF2B5EF4-FFF2-40B4-BE49-F238E27FC236}">
                  <a16:creationId xmlns:a16="http://schemas.microsoft.com/office/drawing/2014/main" id="{AD1B6B25-467C-A74D-9E20-BCB171527076}"/>
                </a:ext>
              </a:extLst>
            </p:cNvPr>
            <p:cNvSpPr/>
            <p:nvPr/>
          </p:nvSpPr>
          <p:spPr>
            <a:xfrm rot="-1917689">
              <a:off x="5751954" y="2396151"/>
              <a:ext cx="22043" cy="49781"/>
            </a:xfrm>
            <a:custGeom>
              <a:avLst/>
              <a:gdLst>
                <a:gd name="connsiteX0" fmla="*/ 22008 w 22043"/>
                <a:gd name="connsiteY0" fmla="*/ 20472 h 49781"/>
                <a:gd name="connsiteX1" fmla="*/ 587 w 22043"/>
                <a:gd name="connsiteY1" fmla="*/ -105 h 49781"/>
                <a:gd name="connsiteX2" fmla="*/ 13610 w 22043"/>
                <a:gd name="connsiteY2" fmla="*/ 49676 h 49781"/>
                <a:gd name="connsiteX3" fmla="*/ 22008 w 22043"/>
                <a:gd name="connsiteY3" fmla="*/ 20472 h 49781"/>
              </a:gdLst>
              <a:ahLst/>
              <a:cxnLst>
                <a:cxn ang="0">
                  <a:pos x="connsiteX0" y="connsiteY0"/>
                </a:cxn>
                <a:cxn ang="0">
                  <a:pos x="connsiteX1" y="connsiteY1"/>
                </a:cxn>
                <a:cxn ang="0">
                  <a:pos x="connsiteX2" y="connsiteY2"/>
                </a:cxn>
                <a:cxn ang="0">
                  <a:pos x="connsiteX3" y="connsiteY3"/>
                </a:cxn>
              </a:cxnLst>
              <a:rect l="l" t="t" r="r" b="b"/>
              <a:pathLst>
                <a:path w="22043" h="49781">
                  <a:moveTo>
                    <a:pt x="22008" y="20472"/>
                  </a:moveTo>
                  <a:cubicBezTo>
                    <a:pt x="13843" y="13801"/>
                    <a:pt x="13042" y="5586"/>
                    <a:pt x="587" y="-105"/>
                  </a:cubicBezTo>
                  <a:cubicBezTo>
                    <a:pt x="-2979" y="18231"/>
                    <a:pt x="9786" y="32936"/>
                    <a:pt x="13610" y="49676"/>
                  </a:cubicBezTo>
                  <a:cubicBezTo>
                    <a:pt x="20561" y="39040"/>
                    <a:pt x="16117" y="30876"/>
                    <a:pt x="22008" y="20472"/>
                  </a:cubicBezTo>
                  <a:close/>
                </a:path>
              </a:pathLst>
            </a:custGeom>
            <a:grpFill/>
            <a:ln w="25598" cap="flat">
              <a:noFill/>
              <a:prstDash val="solid"/>
              <a:round/>
            </a:ln>
          </p:spPr>
          <p:txBody>
            <a:bodyPr rtlCol="0" anchor="ctr"/>
            <a:lstStyle/>
            <a:p>
              <a:endParaRPr lang="en-LT"/>
            </a:p>
          </p:txBody>
        </p:sp>
        <p:sp>
          <p:nvSpPr>
            <p:cNvPr id="192" name="Freeform 191">
              <a:extLst>
                <a:ext uri="{FF2B5EF4-FFF2-40B4-BE49-F238E27FC236}">
                  <a16:creationId xmlns:a16="http://schemas.microsoft.com/office/drawing/2014/main" id="{B74E0FAE-3090-7C4E-8B9C-15AA13BBBA39}"/>
                </a:ext>
              </a:extLst>
            </p:cNvPr>
            <p:cNvSpPr/>
            <p:nvPr/>
          </p:nvSpPr>
          <p:spPr>
            <a:xfrm rot="-1917689">
              <a:off x="5751957" y="2410671"/>
              <a:ext cx="19656" cy="63353"/>
            </a:xfrm>
            <a:custGeom>
              <a:avLst/>
              <a:gdLst>
                <a:gd name="connsiteX0" fmla="*/ 19523 w 19656"/>
                <a:gd name="connsiteY0" fmla="*/ 63248 h 63353"/>
                <a:gd name="connsiteX1" fmla="*/ 1357 w 19656"/>
                <a:gd name="connsiteY1" fmla="*/ -105 h 63353"/>
                <a:gd name="connsiteX2" fmla="*/ 19523 w 19656"/>
                <a:gd name="connsiteY2" fmla="*/ 63248 h 63353"/>
              </a:gdLst>
              <a:ahLst/>
              <a:cxnLst>
                <a:cxn ang="0">
                  <a:pos x="connsiteX0" y="connsiteY0"/>
                </a:cxn>
                <a:cxn ang="0">
                  <a:pos x="connsiteX1" y="connsiteY1"/>
                </a:cxn>
                <a:cxn ang="0">
                  <a:pos x="connsiteX2" y="connsiteY2"/>
                </a:cxn>
              </a:cxnLst>
              <a:rect l="l" t="t" r="r" b="b"/>
              <a:pathLst>
                <a:path w="19656" h="63353">
                  <a:moveTo>
                    <a:pt x="19523" y="63248"/>
                  </a:moveTo>
                  <a:cubicBezTo>
                    <a:pt x="20738" y="40533"/>
                    <a:pt x="10402" y="20343"/>
                    <a:pt x="1357" y="-105"/>
                  </a:cubicBezTo>
                  <a:cubicBezTo>
                    <a:pt x="-4922" y="23665"/>
                    <a:pt x="11616" y="42568"/>
                    <a:pt x="19523" y="63248"/>
                  </a:cubicBezTo>
                  <a:close/>
                </a:path>
              </a:pathLst>
            </a:custGeom>
            <a:grpFill/>
            <a:ln w="25598" cap="flat">
              <a:noFill/>
              <a:prstDash val="solid"/>
              <a:round/>
            </a:ln>
          </p:spPr>
          <p:txBody>
            <a:bodyPr rtlCol="0" anchor="ctr"/>
            <a:lstStyle/>
            <a:p>
              <a:endParaRPr lang="en-LT"/>
            </a:p>
          </p:txBody>
        </p:sp>
        <p:sp>
          <p:nvSpPr>
            <p:cNvPr id="193" name="Freeform 192">
              <a:extLst>
                <a:ext uri="{FF2B5EF4-FFF2-40B4-BE49-F238E27FC236}">
                  <a16:creationId xmlns:a16="http://schemas.microsoft.com/office/drawing/2014/main" id="{8C2896BD-DF4B-B341-A622-459702B5DFD8}"/>
                </a:ext>
              </a:extLst>
            </p:cNvPr>
            <p:cNvSpPr/>
            <p:nvPr/>
          </p:nvSpPr>
          <p:spPr>
            <a:xfrm rot="-1917689">
              <a:off x="5746692" y="2429871"/>
              <a:ext cx="35126" cy="90909"/>
            </a:xfrm>
            <a:custGeom>
              <a:avLst/>
              <a:gdLst>
                <a:gd name="connsiteX0" fmla="*/ 10974 w 35126"/>
                <a:gd name="connsiteY0" fmla="*/ -105 h 90909"/>
                <a:gd name="connsiteX1" fmla="*/ -34 w 35126"/>
                <a:gd name="connsiteY1" fmla="*/ 17047 h 90909"/>
                <a:gd name="connsiteX2" fmla="*/ 28830 w 35126"/>
                <a:gd name="connsiteY2" fmla="*/ 90805 h 90909"/>
                <a:gd name="connsiteX3" fmla="*/ 10974 w 35126"/>
                <a:gd name="connsiteY3" fmla="*/ -105 h 90909"/>
              </a:gdLst>
              <a:ahLst/>
              <a:cxnLst>
                <a:cxn ang="0">
                  <a:pos x="connsiteX0" y="connsiteY0"/>
                </a:cxn>
                <a:cxn ang="0">
                  <a:pos x="connsiteX1" y="connsiteY1"/>
                </a:cxn>
                <a:cxn ang="0">
                  <a:pos x="connsiteX2" y="connsiteY2"/>
                </a:cxn>
                <a:cxn ang="0">
                  <a:pos x="connsiteX3" y="connsiteY3"/>
                </a:cxn>
              </a:cxnLst>
              <a:rect l="l" t="t" r="r" b="b"/>
              <a:pathLst>
                <a:path w="35126" h="90909">
                  <a:moveTo>
                    <a:pt x="10974" y="-105"/>
                  </a:moveTo>
                  <a:cubicBezTo>
                    <a:pt x="7330" y="5612"/>
                    <a:pt x="3661" y="11355"/>
                    <a:pt x="-34" y="17047"/>
                  </a:cubicBezTo>
                  <a:cubicBezTo>
                    <a:pt x="12421" y="41023"/>
                    <a:pt x="15987" y="66931"/>
                    <a:pt x="28830" y="90805"/>
                  </a:cubicBezTo>
                  <a:cubicBezTo>
                    <a:pt x="46970" y="55265"/>
                    <a:pt x="20922" y="29383"/>
                    <a:pt x="10974" y="-105"/>
                  </a:cubicBezTo>
                  <a:close/>
                </a:path>
              </a:pathLst>
            </a:custGeom>
            <a:grpFill/>
            <a:ln w="25598" cap="flat">
              <a:noFill/>
              <a:prstDash val="solid"/>
              <a:round/>
            </a:ln>
          </p:spPr>
          <p:txBody>
            <a:bodyPr rtlCol="0" anchor="ctr"/>
            <a:lstStyle/>
            <a:p>
              <a:endParaRPr lang="en-LT"/>
            </a:p>
          </p:txBody>
        </p:sp>
        <p:sp>
          <p:nvSpPr>
            <p:cNvPr id="194" name="Freeform 193">
              <a:extLst>
                <a:ext uri="{FF2B5EF4-FFF2-40B4-BE49-F238E27FC236}">
                  <a16:creationId xmlns:a16="http://schemas.microsoft.com/office/drawing/2014/main" id="{32E71F60-D1D9-7C4A-9BEE-4B02A1B92FA7}"/>
                </a:ext>
              </a:extLst>
            </p:cNvPr>
            <p:cNvSpPr/>
            <p:nvPr/>
          </p:nvSpPr>
          <p:spPr>
            <a:xfrm rot="-1917689">
              <a:off x="5743303" y="2458407"/>
              <a:ext cx="37823" cy="94051"/>
            </a:xfrm>
            <a:custGeom>
              <a:avLst/>
              <a:gdLst>
                <a:gd name="connsiteX0" fmla="*/ 11905 w 37823"/>
                <a:gd name="connsiteY0" fmla="*/ -105 h 94051"/>
                <a:gd name="connsiteX1" fmla="*/ -34 w 37823"/>
                <a:gd name="connsiteY1" fmla="*/ 13081 h 94051"/>
                <a:gd name="connsiteX2" fmla="*/ 34644 w 37823"/>
                <a:gd name="connsiteY2" fmla="*/ 93947 h 94051"/>
                <a:gd name="connsiteX3" fmla="*/ 11905 w 37823"/>
                <a:gd name="connsiteY3" fmla="*/ -105 h 94051"/>
              </a:gdLst>
              <a:ahLst/>
              <a:cxnLst>
                <a:cxn ang="0">
                  <a:pos x="connsiteX0" y="connsiteY0"/>
                </a:cxn>
                <a:cxn ang="0">
                  <a:pos x="connsiteX1" y="connsiteY1"/>
                </a:cxn>
                <a:cxn ang="0">
                  <a:pos x="connsiteX2" y="connsiteY2"/>
                </a:cxn>
                <a:cxn ang="0">
                  <a:pos x="connsiteX3" y="connsiteY3"/>
                </a:cxn>
              </a:cxnLst>
              <a:rect l="l" t="t" r="r" b="b"/>
              <a:pathLst>
                <a:path w="37823" h="94051">
                  <a:moveTo>
                    <a:pt x="11905" y="-105"/>
                  </a:moveTo>
                  <a:cubicBezTo>
                    <a:pt x="8804" y="8548"/>
                    <a:pt x="3610" y="7286"/>
                    <a:pt x="-34" y="13081"/>
                  </a:cubicBezTo>
                  <a:cubicBezTo>
                    <a:pt x="12473" y="39839"/>
                    <a:pt x="20923" y="67472"/>
                    <a:pt x="34644" y="93947"/>
                  </a:cubicBezTo>
                  <a:cubicBezTo>
                    <a:pt x="46944" y="58278"/>
                    <a:pt x="19734" y="31237"/>
                    <a:pt x="11905" y="-105"/>
                  </a:cubicBezTo>
                  <a:close/>
                </a:path>
              </a:pathLst>
            </a:custGeom>
            <a:grpFill/>
            <a:ln w="25598" cap="flat">
              <a:noFill/>
              <a:prstDash val="solid"/>
              <a:round/>
            </a:ln>
          </p:spPr>
          <p:txBody>
            <a:bodyPr rtlCol="0" anchor="ctr"/>
            <a:lstStyle/>
            <a:p>
              <a:endParaRPr lang="en-LT"/>
            </a:p>
          </p:txBody>
        </p:sp>
        <p:sp>
          <p:nvSpPr>
            <p:cNvPr id="195" name="Freeform 194">
              <a:extLst>
                <a:ext uri="{FF2B5EF4-FFF2-40B4-BE49-F238E27FC236}">
                  <a16:creationId xmlns:a16="http://schemas.microsoft.com/office/drawing/2014/main" id="{8AC4FB7B-17BD-BD41-8263-3BB90D6D4F09}"/>
                </a:ext>
              </a:extLst>
            </p:cNvPr>
            <p:cNvSpPr/>
            <p:nvPr/>
          </p:nvSpPr>
          <p:spPr>
            <a:xfrm rot="-1917689">
              <a:off x="5747722" y="2484533"/>
              <a:ext cx="35820" cy="95313"/>
            </a:xfrm>
            <a:custGeom>
              <a:avLst/>
              <a:gdLst>
                <a:gd name="connsiteX0" fmla="*/ 35653 w 35820"/>
                <a:gd name="connsiteY0" fmla="*/ 95209 h 95313"/>
                <a:gd name="connsiteX1" fmla="*/ -33 w 35820"/>
                <a:gd name="connsiteY1" fmla="*/ -105 h 95313"/>
                <a:gd name="connsiteX2" fmla="*/ 35653 w 35820"/>
                <a:gd name="connsiteY2" fmla="*/ 95209 h 95313"/>
              </a:gdLst>
              <a:ahLst/>
              <a:cxnLst>
                <a:cxn ang="0">
                  <a:pos x="connsiteX0" y="connsiteY0"/>
                </a:cxn>
                <a:cxn ang="0">
                  <a:pos x="connsiteX1" y="connsiteY1"/>
                </a:cxn>
                <a:cxn ang="0">
                  <a:pos x="connsiteX2" y="connsiteY2"/>
                </a:cxn>
              </a:cxnLst>
              <a:rect l="l" t="t" r="r" b="b"/>
              <a:pathLst>
                <a:path w="35820" h="95313">
                  <a:moveTo>
                    <a:pt x="35653" y="95209"/>
                  </a:moveTo>
                  <a:cubicBezTo>
                    <a:pt x="37720" y="61703"/>
                    <a:pt x="15471" y="22584"/>
                    <a:pt x="-33" y="-105"/>
                  </a:cubicBezTo>
                  <a:cubicBezTo>
                    <a:pt x="2938" y="33581"/>
                    <a:pt x="24386" y="63326"/>
                    <a:pt x="35653" y="95209"/>
                  </a:cubicBezTo>
                  <a:close/>
                </a:path>
              </a:pathLst>
            </a:custGeom>
            <a:grpFill/>
            <a:ln w="25598" cap="flat">
              <a:noFill/>
              <a:prstDash val="solid"/>
              <a:round/>
            </a:ln>
          </p:spPr>
          <p:txBody>
            <a:bodyPr rtlCol="0" anchor="ctr"/>
            <a:lstStyle/>
            <a:p>
              <a:endParaRPr lang="en-LT"/>
            </a:p>
          </p:txBody>
        </p:sp>
        <p:sp>
          <p:nvSpPr>
            <p:cNvPr id="196" name="Freeform 195">
              <a:extLst>
                <a:ext uri="{FF2B5EF4-FFF2-40B4-BE49-F238E27FC236}">
                  <a16:creationId xmlns:a16="http://schemas.microsoft.com/office/drawing/2014/main" id="{FCACE634-A5CC-F04D-A596-95533176F3EA}"/>
                </a:ext>
              </a:extLst>
            </p:cNvPr>
            <p:cNvSpPr/>
            <p:nvPr/>
          </p:nvSpPr>
          <p:spPr>
            <a:xfrm rot="-1917689">
              <a:off x="5862367" y="2500713"/>
              <a:ext cx="61319" cy="150941"/>
            </a:xfrm>
            <a:custGeom>
              <a:avLst/>
              <a:gdLst>
                <a:gd name="connsiteX0" fmla="*/ 51856 w 61319"/>
                <a:gd name="connsiteY0" fmla="*/ 150834 h 150941"/>
                <a:gd name="connsiteX1" fmla="*/ 61288 w 61319"/>
                <a:gd name="connsiteY1" fmla="*/ 136181 h 150941"/>
                <a:gd name="connsiteX2" fmla="*/ 10279 w 61319"/>
                <a:gd name="connsiteY2" fmla="*/ -107 h 150941"/>
                <a:gd name="connsiteX3" fmla="*/ -31 w 61319"/>
                <a:gd name="connsiteY3" fmla="*/ 10581 h 150941"/>
                <a:gd name="connsiteX4" fmla="*/ 39169 w 61319"/>
                <a:gd name="connsiteY4" fmla="*/ 122042 h 150941"/>
                <a:gd name="connsiteX5" fmla="*/ 51856 w 61319"/>
                <a:gd name="connsiteY5" fmla="*/ 150834 h 1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19" h="150941">
                  <a:moveTo>
                    <a:pt x="51856" y="150834"/>
                  </a:moveTo>
                  <a:cubicBezTo>
                    <a:pt x="55009" y="145941"/>
                    <a:pt x="58135" y="141074"/>
                    <a:pt x="61288" y="136181"/>
                  </a:cubicBezTo>
                  <a:cubicBezTo>
                    <a:pt x="45241" y="91885"/>
                    <a:pt x="33380" y="35690"/>
                    <a:pt x="10279" y="-107"/>
                  </a:cubicBezTo>
                  <a:cubicBezTo>
                    <a:pt x="7462" y="6099"/>
                    <a:pt x="3870" y="9036"/>
                    <a:pt x="-31" y="10581"/>
                  </a:cubicBezTo>
                  <a:cubicBezTo>
                    <a:pt x="10021" y="45348"/>
                    <a:pt x="27850" y="87893"/>
                    <a:pt x="39169" y="122042"/>
                  </a:cubicBezTo>
                  <a:cubicBezTo>
                    <a:pt x="42786" y="132781"/>
                    <a:pt x="40538" y="150139"/>
                    <a:pt x="51856" y="150834"/>
                  </a:cubicBezTo>
                  <a:close/>
                </a:path>
              </a:pathLst>
            </a:custGeom>
            <a:grpFill/>
            <a:ln w="25598" cap="flat">
              <a:noFill/>
              <a:prstDash val="solid"/>
              <a:round/>
            </a:ln>
          </p:spPr>
          <p:txBody>
            <a:bodyPr rtlCol="0" anchor="ctr"/>
            <a:lstStyle/>
            <a:p>
              <a:endParaRPr lang="en-LT"/>
            </a:p>
          </p:txBody>
        </p:sp>
        <p:sp>
          <p:nvSpPr>
            <p:cNvPr id="197" name="Freeform 196">
              <a:extLst>
                <a:ext uri="{FF2B5EF4-FFF2-40B4-BE49-F238E27FC236}">
                  <a16:creationId xmlns:a16="http://schemas.microsoft.com/office/drawing/2014/main" id="{22CF9A61-47D2-EC4B-B22C-ED0CE9314A49}"/>
                </a:ext>
              </a:extLst>
            </p:cNvPr>
            <p:cNvSpPr/>
            <p:nvPr/>
          </p:nvSpPr>
          <p:spPr>
            <a:xfrm rot="-1917689">
              <a:off x="5861367" y="2525953"/>
              <a:ext cx="55246" cy="155628"/>
            </a:xfrm>
            <a:custGeom>
              <a:avLst/>
              <a:gdLst>
                <a:gd name="connsiteX0" fmla="*/ 6274 w 55246"/>
                <a:gd name="connsiteY0" fmla="*/ -107 h 155628"/>
                <a:gd name="connsiteX1" fmla="*/ -31 w 55246"/>
                <a:gd name="connsiteY1" fmla="*/ 9705 h 155628"/>
                <a:gd name="connsiteX2" fmla="*/ 55216 w 55246"/>
                <a:gd name="connsiteY2" fmla="*/ 155521 h 155628"/>
                <a:gd name="connsiteX3" fmla="*/ 6274 w 55246"/>
                <a:gd name="connsiteY3" fmla="*/ -107 h 155628"/>
              </a:gdLst>
              <a:ahLst/>
              <a:cxnLst>
                <a:cxn ang="0">
                  <a:pos x="connsiteX0" y="connsiteY0"/>
                </a:cxn>
                <a:cxn ang="0">
                  <a:pos x="connsiteX1" y="connsiteY1"/>
                </a:cxn>
                <a:cxn ang="0">
                  <a:pos x="connsiteX2" y="connsiteY2"/>
                </a:cxn>
                <a:cxn ang="0">
                  <a:pos x="connsiteX3" y="connsiteY3"/>
                </a:cxn>
              </a:cxnLst>
              <a:rect l="l" t="t" r="r" b="b"/>
              <a:pathLst>
                <a:path w="55246" h="155628">
                  <a:moveTo>
                    <a:pt x="6274" y="-107"/>
                  </a:moveTo>
                  <a:cubicBezTo>
                    <a:pt x="4155" y="3138"/>
                    <a:pt x="2062" y="6409"/>
                    <a:pt x="-31" y="9705"/>
                  </a:cubicBezTo>
                  <a:cubicBezTo>
                    <a:pt x="21003" y="57710"/>
                    <a:pt x="36714" y="106899"/>
                    <a:pt x="55216" y="155521"/>
                  </a:cubicBezTo>
                  <a:cubicBezTo>
                    <a:pt x="47929" y="101645"/>
                    <a:pt x="25189" y="51168"/>
                    <a:pt x="6274" y="-107"/>
                  </a:cubicBezTo>
                  <a:close/>
                </a:path>
              </a:pathLst>
            </a:custGeom>
            <a:grpFill/>
            <a:ln w="25598" cap="flat">
              <a:noFill/>
              <a:prstDash val="solid"/>
              <a:round/>
            </a:ln>
          </p:spPr>
          <p:txBody>
            <a:bodyPr rtlCol="0" anchor="ctr"/>
            <a:lstStyle/>
            <a:p>
              <a:endParaRPr lang="en-LT"/>
            </a:p>
          </p:txBody>
        </p:sp>
        <p:sp>
          <p:nvSpPr>
            <p:cNvPr id="198" name="Freeform 197">
              <a:extLst>
                <a:ext uri="{FF2B5EF4-FFF2-40B4-BE49-F238E27FC236}">
                  <a16:creationId xmlns:a16="http://schemas.microsoft.com/office/drawing/2014/main" id="{352934FC-CE3C-A146-BB3C-04F72156D742}"/>
                </a:ext>
              </a:extLst>
            </p:cNvPr>
            <p:cNvSpPr/>
            <p:nvPr/>
          </p:nvSpPr>
          <p:spPr>
            <a:xfrm rot="-1917689">
              <a:off x="6008260" y="2610868"/>
              <a:ext cx="57402" cy="175200"/>
            </a:xfrm>
            <a:custGeom>
              <a:avLst/>
              <a:gdLst>
                <a:gd name="connsiteX0" fmla="*/ 35348 w 57402"/>
                <a:gd name="connsiteY0" fmla="*/ 62420 h 175200"/>
                <a:gd name="connsiteX1" fmla="*/ 22427 w 57402"/>
                <a:gd name="connsiteY1" fmla="*/ 61055 h 175200"/>
                <a:gd name="connsiteX2" fmla="*/ 13280 w 57402"/>
                <a:gd name="connsiteY2" fmla="*/ -109 h 175200"/>
                <a:gd name="connsiteX3" fmla="*/ -28 w 57402"/>
                <a:gd name="connsiteY3" fmla="*/ 25927 h 175200"/>
                <a:gd name="connsiteX4" fmla="*/ 49586 w 57402"/>
                <a:gd name="connsiteY4" fmla="*/ 175092 h 175200"/>
                <a:gd name="connsiteX5" fmla="*/ 35348 w 57402"/>
                <a:gd name="connsiteY5" fmla="*/ 62420 h 17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02" h="175200">
                  <a:moveTo>
                    <a:pt x="35348" y="62420"/>
                  </a:moveTo>
                  <a:cubicBezTo>
                    <a:pt x="29456" y="54308"/>
                    <a:pt x="28422" y="69142"/>
                    <a:pt x="22427" y="61055"/>
                  </a:cubicBezTo>
                  <a:cubicBezTo>
                    <a:pt x="29921" y="38392"/>
                    <a:pt x="19404" y="19644"/>
                    <a:pt x="13280" y="-109"/>
                  </a:cubicBezTo>
                  <a:cubicBezTo>
                    <a:pt x="4313" y="9548"/>
                    <a:pt x="7052" y="16630"/>
                    <a:pt x="-28" y="25927"/>
                  </a:cubicBezTo>
                  <a:cubicBezTo>
                    <a:pt x="19869" y="74910"/>
                    <a:pt x="31110" y="125799"/>
                    <a:pt x="49586" y="175092"/>
                  </a:cubicBezTo>
                  <a:cubicBezTo>
                    <a:pt x="73411" y="131311"/>
                    <a:pt x="34934" y="101128"/>
                    <a:pt x="35348" y="62420"/>
                  </a:cubicBezTo>
                  <a:close/>
                </a:path>
              </a:pathLst>
            </a:custGeom>
            <a:grpFill/>
            <a:ln w="25598" cap="flat">
              <a:noFill/>
              <a:prstDash val="solid"/>
              <a:round/>
            </a:ln>
          </p:spPr>
          <p:txBody>
            <a:bodyPr rtlCol="0" anchor="ctr"/>
            <a:lstStyle/>
            <a:p>
              <a:endParaRPr lang="en-LT"/>
            </a:p>
          </p:txBody>
        </p:sp>
        <p:sp>
          <p:nvSpPr>
            <p:cNvPr id="199" name="Freeform 198">
              <a:extLst>
                <a:ext uri="{FF2B5EF4-FFF2-40B4-BE49-F238E27FC236}">
                  <a16:creationId xmlns:a16="http://schemas.microsoft.com/office/drawing/2014/main" id="{64E23FA3-D9BF-5847-A941-1C28DB27CA41}"/>
                </a:ext>
              </a:extLst>
            </p:cNvPr>
            <p:cNvSpPr/>
            <p:nvPr/>
          </p:nvSpPr>
          <p:spPr>
            <a:xfrm rot="-1917689">
              <a:off x="5424791" y="2640998"/>
              <a:ext cx="138453" cy="219110"/>
            </a:xfrm>
            <a:custGeom>
              <a:avLst/>
              <a:gdLst>
                <a:gd name="connsiteX0" fmla="*/ 71005 w 138453"/>
                <a:gd name="connsiteY0" fmla="*/ 128875 h 219110"/>
                <a:gd name="connsiteX1" fmla="*/ 92608 w 138453"/>
                <a:gd name="connsiteY1" fmla="*/ 111543 h 219110"/>
                <a:gd name="connsiteX2" fmla="*/ 71005 w 138453"/>
                <a:gd name="connsiteY2" fmla="*/ 128875 h 219110"/>
                <a:gd name="connsiteX3" fmla="*/ 138423 w 138453"/>
                <a:gd name="connsiteY3" fmla="*/ 137348 h 219110"/>
                <a:gd name="connsiteX4" fmla="*/ 63873 w 138453"/>
                <a:gd name="connsiteY4" fmla="*/ -98 h 219110"/>
                <a:gd name="connsiteX5" fmla="*/ -30 w 138453"/>
                <a:gd name="connsiteY5" fmla="*/ 93851 h 219110"/>
                <a:gd name="connsiteX6" fmla="*/ 21572 w 138453"/>
                <a:gd name="connsiteY6" fmla="*/ 124858 h 219110"/>
                <a:gd name="connsiteX7" fmla="*/ 44493 w 138453"/>
                <a:gd name="connsiteY7" fmla="*/ 94598 h 219110"/>
                <a:gd name="connsiteX8" fmla="*/ 24906 w 138453"/>
                <a:gd name="connsiteY8" fmla="*/ 130472 h 219110"/>
                <a:gd name="connsiteX9" fmla="*/ 82349 w 138453"/>
                <a:gd name="connsiteY9" fmla="*/ 219013 h 219110"/>
                <a:gd name="connsiteX10" fmla="*/ 138423 w 138453"/>
                <a:gd name="connsiteY10" fmla="*/ 137348 h 21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53" h="219110">
                  <a:moveTo>
                    <a:pt x="71005" y="128875"/>
                  </a:moveTo>
                  <a:cubicBezTo>
                    <a:pt x="77414" y="119398"/>
                    <a:pt x="85166" y="116308"/>
                    <a:pt x="92608" y="111543"/>
                  </a:cubicBezTo>
                  <a:cubicBezTo>
                    <a:pt x="93125" y="114557"/>
                    <a:pt x="80024" y="137297"/>
                    <a:pt x="71005" y="128875"/>
                  </a:cubicBezTo>
                  <a:close/>
                  <a:moveTo>
                    <a:pt x="138423" y="137348"/>
                  </a:moveTo>
                  <a:cubicBezTo>
                    <a:pt x="112764" y="91687"/>
                    <a:pt x="94029" y="44533"/>
                    <a:pt x="63873" y="-98"/>
                  </a:cubicBezTo>
                  <a:cubicBezTo>
                    <a:pt x="41651" y="27046"/>
                    <a:pt x="21004" y="61221"/>
                    <a:pt x="-30" y="93851"/>
                  </a:cubicBezTo>
                  <a:cubicBezTo>
                    <a:pt x="6998" y="104255"/>
                    <a:pt x="13097" y="114788"/>
                    <a:pt x="21572" y="124858"/>
                  </a:cubicBezTo>
                  <a:cubicBezTo>
                    <a:pt x="29480" y="116050"/>
                    <a:pt x="35139" y="96761"/>
                    <a:pt x="44493" y="94598"/>
                  </a:cubicBezTo>
                  <a:cubicBezTo>
                    <a:pt x="35733" y="107088"/>
                    <a:pt x="28834" y="119115"/>
                    <a:pt x="24906" y="130472"/>
                  </a:cubicBezTo>
                  <a:cubicBezTo>
                    <a:pt x="43433" y="160114"/>
                    <a:pt x="58860" y="190452"/>
                    <a:pt x="82349" y="219013"/>
                  </a:cubicBezTo>
                  <a:cubicBezTo>
                    <a:pt x="100877" y="191096"/>
                    <a:pt x="118578" y="159445"/>
                    <a:pt x="138423" y="137348"/>
                  </a:cubicBezTo>
                  <a:close/>
                </a:path>
              </a:pathLst>
            </a:custGeom>
            <a:grpFill/>
            <a:ln w="25598" cap="flat">
              <a:noFill/>
              <a:prstDash val="solid"/>
              <a:round/>
            </a:ln>
          </p:spPr>
          <p:txBody>
            <a:bodyPr rtlCol="0" anchor="ctr"/>
            <a:lstStyle/>
            <a:p>
              <a:endParaRPr lang="en-LT"/>
            </a:p>
          </p:txBody>
        </p:sp>
        <p:sp>
          <p:nvSpPr>
            <p:cNvPr id="200" name="Freeform 199">
              <a:extLst>
                <a:ext uri="{FF2B5EF4-FFF2-40B4-BE49-F238E27FC236}">
                  <a16:creationId xmlns:a16="http://schemas.microsoft.com/office/drawing/2014/main" id="{1529F343-8864-C04E-82DB-F97994D98B61}"/>
                </a:ext>
              </a:extLst>
            </p:cNvPr>
            <p:cNvSpPr/>
            <p:nvPr/>
          </p:nvSpPr>
          <p:spPr>
            <a:xfrm rot="-1917689">
              <a:off x="5981341" y="2688688"/>
              <a:ext cx="49573" cy="111667"/>
            </a:xfrm>
            <a:custGeom>
              <a:avLst/>
              <a:gdLst>
                <a:gd name="connsiteX0" fmla="*/ 49547 w 49573"/>
                <a:gd name="connsiteY0" fmla="*/ 42308 h 111667"/>
                <a:gd name="connsiteX1" fmla="*/ 31794 w 49573"/>
                <a:gd name="connsiteY1" fmla="*/ -108 h 111667"/>
                <a:gd name="connsiteX2" fmla="*/ 11949 w 49573"/>
                <a:gd name="connsiteY2" fmla="*/ 111559 h 111667"/>
                <a:gd name="connsiteX3" fmla="*/ 49547 w 49573"/>
                <a:gd name="connsiteY3" fmla="*/ 42308 h 111667"/>
              </a:gdLst>
              <a:ahLst/>
              <a:cxnLst>
                <a:cxn ang="0">
                  <a:pos x="connsiteX0" y="connsiteY0"/>
                </a:cxn>
                <a:cxn ang="0">
                  <a:pos x="connsiteX1" y="connsiteY1"/>
                </a:cxn>
                <a:cxn ang="0">
                  <a:pos x="connsiteX2" y="connsiteY2"/>
                </a:cxn>
                <a:cxn ang="0">
                  <a:pos x="connsiteX3" y="connsiteY3"/>
                </a:cxn>
              </a:cxnLst>
              <a:rect l="l" t="t" r="r" b="b"/>
              <a:pathLst>
                <a:path w="49573" h="111667">
                  <a:moveTo>
                    <a:pt x="49547" y="42308"/>
                  </a:moveTo>
                  <a:cubicBezTo>
                    <a:pt x="42260" y="28478"/>
                    <a:pt x="42828" y="12897"/>
                    <a:pt x="31794" y="-108"/>
                  </a:cubicBezTo>
                  <a:cubicBezTo>
                    <a:pt x="13344" y="39732"/>
                    <a:pt x="-17019" y="82045"/>
                    <a:pt x="11949" y="111559"/>
                  </a:cubicBezTo>
                  <a:cubicBezTo>
                    <a:pt x="24765" y="88381"/>
                    <a:pt x="31975" y="66490"/>
                    <a:pt x="49547" y="42308"/>
                  </a:cubicBezTo>
                  <a:close/>
                </a:path>
              </a:pathLst>
            </a:custGeom>
            <a:grpFill/>
            <a:ln w="25598" cap="flat">
              <a:noFill/>
              <a:prstDash val="solid"/>
              <a:round/>
            </a:ln>
          </p:spPr>
          <p:txBody>
            <a:bodyPr rtlCol="0" anchor="ctr"/>
            <a:lstStyle/>
            <a:p>
              <a:endParaRPr lang="en-LT"/>
            </a:p>
          </p:txBody>
        </p:sp>
        <p:sp>
          <p:nvSpPr>
            <p:cNvPr id="201" name="Freeform 200">
              <a:extLst>
                <a:ext uri="{FF2B5EF4-FFF2-40B4-BE49-F238E27FC236}">
                  <a16:creationId xmlns:a16="http://schemas.microsoft.com/office/drawing/2014/main" id="{4894B2FF-8EB0-DD41-BE9C-5481426ABA62}"/>
                </a:ext>
              </a:extLst>
            </p:cNvPr>
            <p:cNvSpPr/>
            <p:nvPr/>
          </p:nvSpPr>
          <p:spPr>
            <a:xfrm rot="-1917689">
              <a:off x="5652202" y="2687059"/>
              <a:ext cx="234605" cy="458927"/>
            </a:xfrm>
            <a:custGeom>
              <a:avLst/>
              <a:gdLst>
                <a:gd name="connsiteX0" fmla="*/ 234581 w 234605"/>
                <a:gd name="connsiteY0" fmla="*/ 392020 h 458927"/>
                <a:gd name="connsiteX1" fmla="*/ 53542 w 234605"/>
                <a:gd name="connsiteY1" fmla="*/ -103 h 458927"/>
                <a:gd name="connsiteX2" fmla="*/ -25 w 234605"/>
                <a:gd name="connsiteY2" fmla="*/ 83133 h 458927"/>
                <a:gd name="connsiteX3" fmla="*/ 198533 w 234605"/>
                <a:gd name="connsiteY3" fmla="*/ 458824 h 458927"/>
                <a:gd name="connsiteX4" fmla="*/ 234581 w 234605"/>
                <a:gd name="connsiteY4" fmla="*/ 392020 h 45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5" h="458927">
                  <a:moveTo>
                    <a:pt x="234581" y="392020"/>
                  </a:moveTo>
                  <a:cubicBezTo>
                    <a:pt x="180367" y="259930"/>
                    <a:pt x="121270" y="129000"/>
                    <a:pt x="53542" y="-103"/>
                  </a:cubicBezTo>
                  <a:cubicBezTo>
                    <a:pt x="35660" y="27659"/>
                    <a:pt x="17831" y="55396"/>
                    <a:pt x="-25" y="83133"/>
                  </a:cubicBezTo>
                  <a:cubicBezTo>
                    <a:pt x="73724" y="206775"/>
                    <a:pt x="133338" y="333379"/>
                    <a:pt x="198533" y="458824"/>
                  </a:cubicBezTo>
                  <a:cubicBezTo>
                    <a:pt x="208895" y="436882"/>
                    <a:pt x="219748" y="414863"/>
                    <a:pt x="234581" y="392020"/>
                  </a:cubicBezTo>
                  <a:close/>
                </a:path>
              </a:pathLst>
            </a:custGeom>
            <a:grpFill/>
            <a:ln w="25598" cap="flat">
              <a:noFill/>
              <a:prstDash val="solid"/>
              <a:round/>
            </a:ln>
          </p:spPr>
          <p:txBody>
            <a:bodyPr rtlCol="0" anchor="ctr"/>
            <a:lstStyle/>
            <a:p>
              <a:endParaRPr lang="en-LT"/>
            </a:p>
          </p:txBody>
        </p:sp>
        <p:sp>
          <p:nvSpPr>
            <p:cNvPr id="202" name="Freeform 201">
              <a:extLst>
                <a:ext uri="{FF2B5EF4-FFF2-40B4-BE49-F238E27FC236}">
                  <a16:creationId xmlns:a16="http://schemas.microsoft.com/office/drawing/2014/main" id="{014B9640-069F-B645-B682-A7A2DA2287C5}"/>
                </a:ext>
              </a:extLst>
            </p:cNvPr>
            <p:cNvSpPr/>
            <p:nvPr/>
          </p:nvSpPr>
          <p:spPr>
            <a:xfrm rot="-1917689">
              <a:off x="5423845" y="2777213"/>
              <a:ext cx="40440" cy="60468"/>
            </a:xfrm>
            <a:custGeom>
              <a:avLst/>
              <a:gdLst>
                <a:gd name="connsiteX0" fmla="*/ 40411 w 40440"/>
                <a:gd name="connsiteY0" fmla="*/ 30988 h 60468"/>
                <a:gd name="connsiteX1" fmla="*/ 18860 w 40440"/>
                <a:gd name="connsiteY1" fmla="*/ -97 h 60468"/>
                <a:gd name="connsiteX2" fmla="*/ -29 w 40440"/>
                <a:gd name="connsiteY2" fmla="*/ 29262 h 60468"/>
                <a:gd name="connsiteX3" fmla="*/ 21547 w 40440"/>
                <a:gd name="connsiteY3" fmla="*/ 60372 h 60468"/>
                <a:gd name="connsiteX4" fmla="*/ 40411 w 40440"/>
                <a:gd name="connsiteY4" fmla="*/ 30988 h 60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0" h="60468">
                  <a:moveTo>
                    <a:pt x="40411" y="30988"/>
                  </a:moveTo>
                  <a:cubicBezTo>
                    <a:pt x="29971" y="21356"/>
                    <a:pt x="29351" y="9561"/>
                    <a:pt x="18860" y="-97"/>
                  </a:cubicBezTo>
                  <a:cubicBezTo>
                    <a:pt x="12555" y="9741"/>
                    <a:pt x="6276" y="19502"/>
                    <a:pt x="-29" y="29262"/>
                  </a:cubicBezTo>
                  <a:cubicBezTo>
                    <a:pt x="6973" y="39667"/>
                    <a:pt x="13072" y="50277"/>
                    <a:pt x="21547" y="60372"/>
                  </a:cubicBezTo>
                  <a:cubicBezTo>
                    <a:pt x="27827" y="50560"/>
                    <a:pt x="34132" y="40774"/>
                    <a:pt x="40411" y="30988"/>
                  </a:cubicBezTo>
                  <a:close/>
                </a:path>
              </a:pathLst>
            </a:custGeom>
            <a:grpFill/>
            <a:ln w="25598" cap="flat">
              <a:noFill/>
              <a:prstDash val="solid"/>
              <a:round/>
            </a:ln>
          </p:spPr>
          <p:txBody>
            <a:bodyPr rtlCol="0" anchor="ctr"/>
            <a:lstStyle/>
            <a:p>
              <a:endParaRPr lang="en-LT"/>
            </a:p>
          </p:txBody>
        </p:sp>
        <p:sp>
          <p:nvSpPr>
            <p:cNvPr id="203" name="Freeform 202">
              <a:extLst>
                <a:ext uri="{FF2B5EF4-FFF2-40B4-BE49-F238E27FC236}">
                  <a16:creationId xmlns:a16="http://schemas.microsoft.com/office/drawing/2014/main" id="{226749FF-7F4F-0649-9FD9-53E9719AF91E}"/>
                </a:ext>
              </a:extLst>
            </p:cNvPr>
            <p:cNvSpPr/>
            <p:nvPr/>
          </p:nvSpPr>
          <p:spPr>
            <a:xfrm rot="-1917689">
              <a:off x="5477106" y="2781773"/>
              <a:ext cx="74782" cy="117899"/>
            </a:xfrm>
            <a:custGeom>
              <a:avLst/>
              <a:gdLst>
                <a:gd name="connsiteX0" fmla="*/ 74754 w 74782"/>
                <a:gd name="connsiteY0" fmla="*/ 90863 h 117899"/>
                <a:gd name="connsiteX1" fmla="*/ 18861 w 74782"/>
                <a:gd name="connsiteY1" fmla="*/ -98 h 117899"/>
                <a:gd name="connsiteX2" fmla="*/ -28 w 74782"/>
                <a:gd name="connsiteY2" fmla="*/ 29261 h 117899"/>
                <a:gd name="connsiteX3" fmla="*/ 57415 w 74782"/>
                <a:gd name="connsiteY3" fmla="*/ 117802 h 117899"/>
                <a:gd name="connsiteX4" fmla="*/ 74754 w 74782"/>
                <a:gd name="connsiteY4" fmla="*/ 90863 h 117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2" h="117899">
                  <a:moveTo>
                    <a:pt x="74754" y="90863"/>
                  </a:moveTo>
                  <a:cubicBezTo>
                    <a:pt x="57622" y="60243"/>
                    <a:pt x="36407" y="30446"/>
                    <a:pt x="18861" y="-98"/>
                  </a:cubicBezTo>
                  <a:cubicBezTo>
                    <a:pt x="12582" y="9689"/>
                    <a:pt x="6277" y="19501"/>
                    <a:pt x="-28" y="29261"/>
                  </a:cubicBezTo>
                  <a:cubicBezTo>
                    <a:pt x="20593" y="58440"/>
                    <a:pt x="34340" y="89164"/>
                    <a:pt x="57415" y="117802"/>
                  </a:cubicBezTo>
                  <a:cubicBezTo>
                    <a:pt x="63178" y="108839"/>
                    <a:pt x="68940" y="99851"/>
                    <a:pt x="74754" y="90863"/>
                  </a:cubicBezTo>
                  <a:close/>
                </a:path>
              </a:pathLst>
            </a:custGeom>
            <a:grpFill/>
            <a:ln w="25598" cap="flat">
              <a:noFill/>
              <a:prstDash val="solid"/>
              <a:round/>
            </a:ln>
          </p:spPr>
          <p:txBody>
            <a:bodyPr rtlCol="0" anchor="ctr"/>
            <a:lstStyle/>
            <a:p>
              <a:endParaRPr lang="en-LT"/>
            </a:p>
          </p:txBody>
        </p:sp>
        <p:sp>
          <p:nvSpPr>
            <p:cNvPr id="204" name="Freeform 203">
              <a:extLst>
                <a:ext uri="{FF2B5EF4-FFF2-40B4-BE49-F238E27FC236}">
                  <a16:creationId xmlns:a16="http://schemas.microsoft.com/office/drawing/2014/main" id="{CE5AED76-C3C1-6E4F-AAC5-800D92B751E5}"/>
                </a:ext>
              </a:extLst>
            </p:cNvPr>
            <p:cNvSpPr/>
            <p:nvPr/>
          </p:nvSpPr>
          <p:spPr>
            <a:xfrm rot="-1917689">
              <a:off x="5437816" y="2932768"/>
              <a:ext cx="98633" cy="162993"/>
            </a:xfrm>
            <a:custGeom>
              <a:avLst/>
              <a:gdLst>
                <a:gd name="connsiteX0" fmla="*/ 26720 w 98633"/>
                <a:gd name="connsiteY0" fmla="*/ -96 h 162993"/>
                <a:gd name="connsiteX1" fmla="*/ -25 w 98633"/>
                <a:gd name="connsiteY1" fmla="*/ 41521 h 162993"/>
                <a:gd name="connsiteX2" fmla="*/ 70933 w 98633"/>
                <a:gd name="connsiteY2" fmla="*/ 162897 h 162993"/>
                <a:gd name="connsiteX3" fmla="*/ 98608 w 98633"/>
                <a:gd name="connsiteY3" fmla="*/ 125272 h 162993"/>
                <a:gd name="connsiteX4" fmla="*/ 26720 w 98633"/>
                <a:gd name="connsiteY4" fmla="*/ -96 h 16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3" h="162993">
                  <a:moveTo>
                    <a:pt x="26720" y="-96"/>
                  </a:moveTo>
                  <a:cubicBezTo>
                    <a:pt x="17831" y="13759"/>
                    <a:pt x="8890" y="27640"/>
                    <a:pt x="-25" y="41521"/>
                  </a:cubicBezTo>
                  <a:cubicBezTo>
                    <a:pt x="22508" y="82212"/>
                    <a:pt x="45299" y="122825"/>
                    <a:pt x="70933" y="162897"/>
                  </a:cubicBezTo>
                  <a:cubicBezTo>
                    <a:pt x="79305" y="146209"/>
                    <a:pt x="90262" y="141934"/>
                    <a:pt x="98608" y="125272"/>
                  </a:cubicBezTo>
                  <a:cubicBezTo>
                    <a:pt x="73130" y="83757"/>
                    <a:pt x="53232" y="41109"/>
                    <a:pt x="26720" y="-96"/>
                  </a:cubicBezTo>
                  <a:close/>
                </a:path>
              </a:pathLst>
            </a:custGeom>
            <a:grpFill/>
            <a:ln w="25598" cap="flat">
              <a:noFill/>
              <a:prstDash val="solid"/>
              <a:round/>
            </a:ln>
          </p:spPr>
          <p:txBody>
            <a:bodyPr rtlCol="0" anchor="ctr"/>
            <a:lstStyle/>
            <a:p>
              <a:endParaRPr lang="en-LT"/>
            </a:p>
          </p:txBody>
        </p:sp>
        <p:sp>
          <p:nvSpPr>
            <p:cNvPr id="205" name="Freeform 204">
              <a:extLst>
                <a:ext uri="{FF2B5EF4-FFF2-40B4-BE49-F238E27FC236}">
                  <a16:creationId xmlns:a16="http://schemas.microsoft.com/office/drawing/2014/main" id="{6E617FF0-5425-A04B-B09A-C09CADEE53AB}"/>
                </a:ext>
              </a:extLst>
            </p:cNvPr>
            <p:cNvSpPr/>
            <p:nvPr/>
          </p:nvSpPr>
          <p:spPr>
            <a:xfrm rot="-1917689">
              <a:off x="5363617" y="3012543"/>
              <a:ext cx="220677" cy="318982"/>
            </a:xfrm>
            <a:custGeom>
              <a:avLst/>
              <a:gdLst>
                <a:gd name="connsiteX0" fmla="*/ 147605 w 220677"/>
                <a:gd name="connsiteY0" fmla="*/ 70186 h 318982"/>
                <a:gd name="connsiteX1" fmla="*/ 141791 w 220677"/>
                <a:gd name="connsiteY1" fmla="*/ 63001 h 318982"/>
                <a:gd name="connsiteX2" fmla="*/ 151274 w 220677"/>
                <a:gd name="connsiteY2" fmla="*/ 48322 h 318982"/>
                <a:gd name="connsiteX3" fmla="*/ 160422 w 220677"/>
                <a:gd name="connsiteY3" fmla="*/ 61095 h 318982"/>
                <a:gd name="connsiteX4" fmla="*/ 147605 w 220677"/>
                <a:gd name="connsiteY4" fmla="*/ 70186 h 318982"/>
                <a:gd name="connsiteX5" fmla="*/ 164091 w 220677"/>
                <a:gd name="connsiteY5" fmla="*/ 87596 h 318982"/>
                <a:gd name="connsiteX6" fmla="*/ 200862 w 220677"/>
                <a:gd name="connsiteY6" fmla="*/ 149069 h 318982"/>
                <a:gd name="connsiteX7" fmla="*/ 171275 w 220677"/>
                <a:gd name="connsiteY7" fmla="*/ 81853 h 318982"/>
                <a:gd name="connsiteX8" fmla="*/ 209622 w 220677"/>
                <a:gd name="connsiteY8" fmla="*/ 140880 h 318982"/>
                <a:gd name="connsiteX9" fmla="*/ 220656 w 220677"/>
                <a:gd name="connsiteY9" fmla="*/ 123754 h 318982"/>
                <a:gd name="connsiteX10" fmla="*/ 151274 w 220677"/>
                <a:gd name="connsiteY10" fmla="*/ -95 h 318982"/>
                <a:gd name="connsiteX11" fmla="*/ 142153 w 220677"/>
                <a:gd name="connsiteY11" fmla="*/ 35625 h 318982"/>
                <a:gd name="connsiteX12" fmla="*/ 126028 w 220677"/>
                <a:gd name="connsiteY12" fmla="*/ 39102 h 318982"/>
                <a:gd name="connsiteX13" fmla="*/ -22 w 220677"/>
                <a:gd name="connsiteY13" fmla="*/ 186541 h 318982"/>
                <a:gd name="connsiteX14" fmla="*/ 31194 w 220677"/>
                <a:gd name="connsiteY14" fmla="*/ 213376 h 318982"/>
                <a:gd name="connsiteX15" fmla="*/ 88146 w 220677"/>
                <a:gd name="connsiteY15" fmla="*/ 318888 h 318982"/>
                <a:gd name="connsiteX16" fmla="*/ 112074 w 220677"/>
                <a:gd name="connsiteY16" fmla="*/ 254736 h 318982"/>
                <a:gd name="connsiteX17" fmla="*/ 190526 w 220677"/>
                <a:gd name="connsiteY17" fmla="*/ 159757 h 318982"/>
                <a:gd name="connsiteX18" fmla="*/ 164091 w 220677"/>
                <a:gd name="connsiteY18" fmla="*/ 87596 h 31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677" h="318982">
                  <a:moveTo>
                    <a:pt x="147605" y="70186"/>
                  </a:moveTo>
                  <a:cubicBezTo>
                    <a:pt x="146494" y="67611"/>
                    <a:pt x="145254" y="65062"/>
                    <a:pt x="141791" y="63001"/>
                  </a:cubicBezTo>
                  <a:cubicBezTo>
                    <a:pt x="144969" y="58134"/>
                    <a:pt x="148096" y="53215"/>
                    <a:pt x="151274" y="48322"/>
                  </a:cubicBezTo>
                  <a:cubicBezTo>
                    <a:pt x="157683" y="51850"/>
                    <a:pt x="156417" y="57026"/>
                    <a:pt x="160422" y="61095"/>
                  </a:cubicBezTo>
                  <a:cubicBezTo>
                    <a:pt x="155822" y="62692"/>
                    <a:pt x="152205" y="68564"/>
                    <a:pt x="147605" y="70186"/>
                  </a:cubicBezTo>
                  <a:close/>
                  <a:moveTo>
                    <a:pt x="164091" y="87596"/>
                  </a:moveTo>
                  <a:cubicBezTo>
                    <a:pt x="178950" y="104954"/>
                    <a:pt x="184764" y="146005"/>
                    <a:pt x="200862" y="149069"/>
                  </a:cubicBezTo>
                  <a:cubicBezTo>
                    <a:pt x="195384" y="127102"/>
                    <a:pt x="167864" y="98747"/>
                    <a:pt x="171275" y="81853"/>
                  </a:cubicBezTo>
                  <a:cubicBezTo>
                    <a:pt x="186650" y="99777"/>
                    <a:pt x="192077" y="130372"/>
                    <a:pt x="209622" y="140880"/>
                  </a:cubicBezTo>
                  <a:cubicBezTo>
                    <a:pt x="213292" y="135163"/>
                    <a:pt x="216961" y="129471"/>
                    <a:pt x="220656" y="123754"/>
                  </a:cubicBezTo>
                  <a:cubicBezTo>
                    <a:pt x="197193" y="82574"/>
                    <a:pt x="176185" y="40827"/>
                    <a:pt x="151274" y="-95"/>
                  </a:cubicBezTo>
                  <a:cubicBezTo>
                    <a:pt x="140912" y="13374"/>
                    <a:pt x="133083" y="26328"/>
                    <a:pt x="142153" y="35625"/>
                  </a:cubicBezTo>
                  <a:cubicBezTo>
                    <a:pt x="133625" y="42193"/>
                    <a:pt x="131377" y="32097"/>
                    <a:pt x="126028" y="39102"/>
                  </a:cubicBezTo>
                  <a:cubicBezTo>
                    <a:pt x="85381" y="94524"/>
                    <a:pt x="39902" y="127977"/>
                    <a:pt x="-22" y="186541"/>
                  </a:cubicBezTo>
                  <a:cubicBezTo>
                    <a:pt x="4449" y="196816"/>
                    <a:pt x="17291" y="205238"/>
                    <a:pt x="31194" y="213376"/>
                  </a:cubicBezTo>
                  <a:cubicBezTo>
                    <a:pt x="13984" y="255251"/>
                    <a:pt x="37654" y="298697"/>
                    <a:pt x="88146" y="318888"/>
                  </a:cubicBezTo>
                  <a:cubicBezTo>
                    <a:pt x="117966" y="311986"/>
                    <a:pt x="119284" y="272686"/>
                    <a:pt x="112074" y="254736"/>
                  </a:cubicBezTo>
                  <a:cubicBezTo>
                    <a:pt x="135357" y="229060"/>
                    <a:pt x="162954" y="191923"/>
                    <a:pt x="190526" y="159757"/>
                  </a:cubicBezTo>
                  <a:cubicBezTo>
                    <a:pt x="182076" y="135626"/>
                    <a:pt x="157760" y="114998"/>
                    <a:pt x="164091" y="87596"/>
                  </a:cubicBezTo>
                  <a:close/>
                </a:path>
              </a:pathLst>
            </a:custGeom>
            <a:grpFill/>
            <a:ln w="25598" cap="flat">
              <a:noFill/>
              <a:prstDash val="solid"/>
              <a:round/>
            </a:ln>
          </p:spPr>
          <p:txBody>
            <a:bodyPr rtlCol="0" anchor="ctr"/>
            <a:lstStyle/>
            <a:p>
              <a:endParaRPr lang="en-LT"/>
            </a:p>
          </p:txBody>
        </p:sp>
        <p:sp>
          <p:nvSpPr>
            <p:cNvPr id="206" name="Freeform 205">
              <a:extLst>
                <a:ext uri="{FF2B5EF4-FFF2-40B4-BE49-F238E27FC236}">
                  <a16:creationId xmlns:a16="http://schemas.microsoft.com/office/drawing/2014/main" id="{478DE955-7619-DB42-9BC0-1D5EF8239040}"/>
                </a:ext>
              </a:extLst>
            </p:cNvPr>
            <p:cNvSpPr/>
            <p:nvPr/>
          </p:nvSpPr>
          <p:spPr>
            <a:xfrm rot="-1917689">
              <a:off x="5606714" y="3094781"/>
              <a:ext cx="66332" cy="106362"/>
            </a:xfrm>
            <a:custGeom>
              <a:avLst/>
              <a:gdLst>
                <a:gd name="connsiteX0" fmla="*/ 66311 w 66332"/>
                <a:gd name="connsiteY0" fmla="*/ 106263 h 106362"/>
                <a:gd name="connsiteX1" fmla="*/ 13468 w 66332"/>
                <a:gd name="connsiteY1" fmla="*/ -99 h 106362"/>
                <a:gd name="connsiteX2" fmla="*/ -21 w 66332"/>
                <a:gd name="connsiteY2" fmla="*/ 15457 h 106362"/>
                <a:gd name="connsiteX3" fmla="*/ 66311 w 66332"/>
                <a:gd name="connsiteY3" fmla="*/ 106263 h 106362"/>
              </a:gdLst>
              <a:ahLst/>
              <a:cxnLst>
                <a:cxn ang="0">
                  <a:pos x="connsiteX0" y="connsiteY0"/>
                </a:cxn>
                <a:cxn ang="0">
                  <a:pos x="connsiteX1" y="connsiteY1"/>
                </a:cxn>
                <a:cxn ang="0">
                  <a:pos x="connsiteX2" y="connsiteY2"/>
                </a:cxn>
                <a:cxn ang="0">
                  <a:pos x="connsiteX3" y="connsiteY3"/>
                </a:cxn>
              </a:cxnLst>
              <a:rect l="l" t="t" r="r" b="b"/>
              <a:pathLst>
                <a:path w="66332" h="106362">
                  <a:moveTo>
                    <a:pt x="66311" y="106263"/>
                  </a:moveTo>
                  <a:cubicBezTo>
                    <a:pt x="48171" y="70904"/>
                    <a:pt x="35122" y="34514"/>
                    <a:pt x="13468" y="-99"/>
                  </a:cubicBezTo>
                  <a:cubicBezTo>
                    <a:pt x="9617" y="8374"/>
                    <a:pt x="3493" y="5748"/>
                    <a:pt x="-21" y="15457"/>
                  </a:cubicBezTo>
                  <a:cubicBezTo>
                    <a:pt x="16956" y="45459"/>
                    <a:pt x="17654" y="90168"/>
                    <a:pt x="66311" y="106263"/>
                  </a:cubicBezTo>
                  <a:close/>
                </a:path>
              </a:pathLst>
            </a:custGeom>
            <a:grpFill/>
            <a:ln w="25598" cap="flat">
              <a:noFill/>
              <a:prstDash val="solid"/>
              <a:round/>
            </a:ln>
          </p:spPr>
          <p:txBody>
            <a:bodyPr rtlCol="0" anchor="ctr"/>
            <a:lstStyle/>
            <a:p>
              <a:endParaRPr lang="en-LT"/>
            </a:p>
          </p:txBody>
        </p:sp>
        <p:sp>
          <p:nvSpPr>
            <p:cNvPr id="207" name="Freeform 206">
              <a:extLst>
                <a:ext uri="{FF2B5EF4-FFF2-40B4-BE49-F238E27FC236}">
                  <a16:creationId xmlns:a16="http://schemas.microsoft.com/office/drawing/2014/main" id="{871B8D05-C2BC-A649-9910-0A8E12179312}"/>
                </a:ext>
              </a:extLst>
            </p:cNvPr>
            <p:cNvSpPr/>
            <p:nvPr/>
          </p:nvSpPr>
          <p:spPr>
            <a:xfrm rot="-1917689">
              <a:off x="5603413" y="3133769"/>
              <a:ext cx="28480" cy="52691"/>
            </a:xfrm>
            <a:custGeom>
              <a:avLst/>
              <a:gdLst>
                <a:gd name="connsiteX0" fmla="*/ 34 w 28480"/>
                <a:gd name="connsiteY0" fmla="*/ -98 h 52691"/>
                <a:gd name="connsiteX1" fmla="*/ 28459 w 28480"/>
                <a:gd name="connsiteY1" fmla="*/ 52594 h 52691"/>
                <a:gd name="connsiteX2" fmla="*/ 34 w 28480"/>
                <a:gd name="connsiteY2" fmla="*/ -98 h 52691"/>
              </a:gdLst>
              <a:ahLst/>
              <a:cxnLst>
                <a:cxn ang="0">
                  <a:pos x="connsiteX0" y="connsiteY0"/>
                </a:cxn>
                <a:cxn ang="0">
                  <a:pos x="connsiteX1" y="connsiteY1"/>
                </a:cxn>
                <a:cxn ang="0">
                  <a:pos x="connsiteX2" y="connsiteY2"/>
                </a:cxn>
              </a:cxnLst>
              <a:rect l="l" t="t" r="r" b="b"/>
              <a:pathLst>
                <a:path w="28480" h="52691">
                  <a:moveTo>
                    <a:pt x="34" y="-98"/>
                  </a:moveTo>
                  <a:cubicBezTo>
                    <a:pt x="-947" y="18342"/>
                    <a:pt x="11198" y="45074"/>
                    <a:pt x="28459" y="52594"/>
                  </a:cubicBezTo>
                  <a:cubicBezTo>
                    <a:pt x="19286" y="34952"/>
                    <a:pt x="15074" y="16204"/>
                    <a:pt x="34" y="-98"/>
                  </a:cubicBezTo>
                  <a:close/>
                </a:path>
              </a:pathLst>
            </a:custGeom>
            <a:grpFill/>
            <a:ln w="25598" cap="flat">
              <a:noFill/>
              <a:prstDash val="solid"/>
              <a:round/>
            </a:ln>
          </p:spPr>
          <p:txBody>
            <a:bodyPr rtlCol="0" anchor="ctr"/>
            <a:lstStyle/>
            <a:p>
              <a:endParaRPr lang="en-LT"/>
            </a:p>
          </p:txBody>
        </p:sp>
        <p:sp>
          <p:nvSpPr>
            <p:cNvPr id="208" name="Freeform 207">
              <a:extLst>
                <a:ext uri="{FF2B5EF4-FFF2-40B4-BE49-F238E27FC236}">
                  <a16:creationId xmlns:a16="http://schemas.microsoft.com/office/drawing/2014/main" id="{9AF28001-95A1-6D47-A2B1-B044C90C7CE6}"/>
                </a:ext>
              </a:extLst>
            </p:cNvPr>
            <p:cNvSpPr/>
            <p:nvPr/>
          </p:nvSpPr>
          <p:spPr>
            <a:xfrm rot="-1917689">
              <a:off x="5588774" y="3158973"/>
              <a:ext cx="16528" cy="18719"/>
            </a:xfrm>
            <a:custGeom>
              <a:avLst/>
              <a:gdLst>
                <a:gd name="connsiteX0" fmla="*/ 16507 w 16528"/>
                <a:gd name="connsiteY0" fmla="*/ 18239 h 18719"/>
                <a:gd name="connsiteX1" fmla="*/ 4000 w 16528"/>
                <a:gd name="connsiteY1" fmla="*/ -98 h 18719"/>
                <a:gd name="connsiteX2" fmla="*/ 16507 w 16528"/>
                <a:gd name="connsiteY2" fmla="*/ 18239 h 18719"/>
              </a:gdLst>
              <a:ahLst/>
              <a:cxnLst>
                <a:cxn ang="0">
                  <a:pos x="connsiteX0" y="connsiteY0"/>
                </a:cxn>
                <a:cxn ang="0">
                  <a:pos x="connsiteX1" y="connsiteY1"/>
                </a:cxn>
                <a:cxn ang="0">
                  <a:pos x="connsiteX2" y="connsiteY2"/>
                </a:cxn>
              </a:cxnLst>
              <a:rect l="l" t="t" r="r" b="b"/>
              <a:pathLst>
                <a:path w="16528" h="18719">
                  <a:moveTo>
                    <a:pt x="16507" y="18239"/>
                  </a:moveTo>
                  <a:cubicBezTo>
                    <a:pt x="8341" y="13011"/>
                    <a:pt x="13251" y="4925"/>
                    <a:pt x="4000" y="-98"/>
                  </a:cubicBezTo>
                  <a:cubicBezTo>
                    <a:pt x="-7705" y="8247"/>
                    <a:pt x="9143" y="20995"/>
                    <a:pt x="16507" y="18239"/>
                  </a:cubicBezTo>
                  <a:close/>
                </a:path>
              </a:pathLst>
            </a:custGeom>
            <a:grpFill/>
            <a:ln w="25598" cap="flat">
              <a:noFill/>
              <a:prstDash val="solid"/>
              <a:round/>
            </a:ln>
          </p:spPr>
          <p:txBody>
            <a:bodyPr rtlCol="0" anchor="ctr"/>
            <a:lstStyle/>
            <a:p>
              <a:endParaRPr lang="en-LT"/>
            </a:p>
          </p:txBody>
        </p:sp>
        <p:sp>
          <p:nvSpPr>
            <p:cNvPr id="209" name="Freeform 208">
              <a:extLst>
                <a:ext uri="{FF2B5EF4-FFF2-40B4-BE49-F238E27FC236}">
                  <a16:creationId xmlns:a16="http://schemas.microsoft.com/office/drawing/2014/main" id="{797B2681-1917-B849-BF83-04166C62A23C}"/>
                </a:ext>
              </a:extLst>
            </p:cNvPr>
            <p:cNvSpPr/>
            <p:nvPr/>
          </p:nvSpPr>
          <p:spPr>
            <a:xfrm rot="-1917689">
              <a:off x="5588974" y="3169080"/>
              <a:ext cx="58916" cy="54803"/>
            </a:xfrm>
            <a:custGeom>
              <a:avLst/>
              <a:gdLst>
                <a:gd name="connsiteX0" fmla="*/ -20 w 58916"/>
                <a:gd name="connsiteY0" fmla="*/ 17003 h 54803"/>
                <a:gd name="connsiteX1" fmla="*/ 58896 w 58916"/>
                <a:gd name="connsiteY1" fmla="*/ 54705 h 54803"/>
                <a:gd name="connsiteX2" fmla="*/ 10988 w 58916"/>
                <a:gd name="connsiteY2" fmla="*/ -98 h 54803"/>
                <a:gd name="connsiteX3" fmla="*/ -20 w 58916"/>
                <a:gd name="connsiteY3" fmla="*/ 17003 h 54803"/>
              </a:gdLst>
              <a:ahLst/>
              <a:cxnLst>
                <a:cxn ang="0">
                  <a:pos x="connsiteX0" y="connsiteY0"/>
                </a:cxn>
                <a:cxn ang="0">
                  <a:pos x="connsiteX1" y="connsiteY1"/>
                </a:cxn>
                <a:cxn ang="0">
                  <a:pos x="connsiteX2" y="connsiteY2"/>
                </a:cxn>
                <a:cxn ang="0">
                  <a:pos x="connsiteX3" y="connsiteY3"/>
                </a:cxn>
              </a:cxnLst>
              <a:rect l="l" t="t" r="r" b="b"/>
              <a:pathLst>
                <a:path w="58916" h="54803">
                  <a:moveTo>
                    <a:pt x="-20" y="17003"/>
                  </a:moveTo>
                  <a:cubicBezTo>
                    <a:pt x="23805" y="27278"/>
                    <a:pt x="37707" y="50868"/>
                    <a:pt x="58896" y="54705"/>
                  </a:cubicBezTo>
                  <a:cubicBezTo>
                    <a:pt x="50705" y="34772"/>
                    <a:pt x="31428" y="17182"/>
                    <a:pt x="10988" y="-98"/>
                  </a:cubicBezTo>
                  <a:cubicBezTo>
                    <a:pt x="7318" y="5619"/>
                    <a:pt x="3623" y="11311"/>
                    <a:pt x="-20" y="17003"/>
                  </a:cubicBezTo>
                  <a:close/>
                </a:path>
              </a:pathLst>
            </a:custGeom>
            <a:grpFill/>
            <a:ln w="25598" cap="flat">
              <a:noFill/>
              <a:prstDash val="solid"/>
              <a:round/>
            </a:ln>
          </p:spPr>
          <p:txBody>
            <a:bodyPr rtlCol="0" anchor="ctr"/>
            <a:lstStyle/>
            <a:p>
              <a:endParaRPr lang="en-LT"/>
            </a:p>
          </p:txBody>
        </p:sp>
        <p:sp>
          <p:nvSpPr>
            <p:cNvPr id="210" name="Freeform 209">
              <a:extLst>
                <a:ext uri="{FF2B5EF4-FFF2-40B4-BE49-F238E27FC236}">
                  <a16:creationId xmlns:a16="http://schemas.microsoft.com/office/drawing/2014/main" id="{F82743E0-C494-384D-A3B2-37683953C98B}"/>
                </a:ext>
              </a:extLst>
            </p:cNvPr>
            <p:cNvSpPr/>
            <p:nvPr/>
          </p:nvSpPr>
          <p:spPr>
            <a:xfrm rot="-1917689">
              <a:off x="5676546" y="3175694"/>
              <a:ext cx="31877" cy="25378"/>
            </a:xfrm>
            <a:custGeom>
              <a:avLst/>
              <a:gdLst>
                <a:gd name="connsiteX0" fmla="*/ 22100 w 31877"/>
                <a:gd name="connsiteY0" fmla="*/ 15108 h 25378"/>
                <a:gd name="connsiteX1" fmla="*/ 6466 w 31877"/>
                <a:gd name="connsiteY1" fmla="*/ 1613 h 25378"/>
                <a:gd name="connsiteX2" fmla="*/ -20 w 31877"/>
                <a:gd name="connsiteY2" fmla="*/ 969 h 25378"/>
                <a:gd name="connsiteX3" fmla="*/ 22100 w 31877"/>
                <a:gd name="connsiteY3" fmla="*/ 15108 h 25378"/>
              </a:gdLst>
              <a:ahLst/>
              <a:cxnLst>
                <a:cxn ang="0">
                  <a:pos x="connsiteX0" y="connsiteY0"/>
                </a:cxn>
                <a:cxn ang="0">
                  <a:pos x="connsiteX1" y="connsiteY1"/>
                </a:cxn>
                <a:cxn ang="0">
                  <a:pos x="connsiteX2" y="connsiteY2"/>
                </a:cxn>
                <a:cxn ang="0">
                  <a:pos x="connsiteX3" y="connsiteY3"/>
                </a:cxn>
              </a:cxnLst>
              <a:rect l="l" t="t" r="r" b="b"/>
              <a:pathLst>
                <a:path w="31877" h="25378">
                  <a:moveTo>
                    <a:pt x="22100" y="15108"/>
                  </a:moveTo>
                  <a:cubicBezTo>
                    <a:pt x="15356" y="9159"/>
                    <a:pt x="24942" y="9365"/>
                    <a:pt x="6466" y="1613"/>
                  </a:cubicBezTo>
                  <a:cubicBezTo>
                    <a:pt x="5407" y="1175"/>
                    <a:pt x="84" y="-1580"/>
                    <a:pt x="-20" y="969"/>
                  </a:cubicBezTo>
                  <a:cubicBezTo>
                    <a:pt x="-200" y="6403"/>
                    <a:pt x="53264" y="42535"/>
                    <a:pt x="22100" y="15108"/>
                  </a:cubicBezTo>
                  <a:close/>
                </a:path>
              </a:pathLst>
            </a:custGeom>
            <a:grpFill/>
            <a:ln w="25598" cap="flat">
              <a:noFill/>
              <a:prstDash val="solid"/>
              <a:round/>
            </a:ln>
          </p:spPr>
          <p:txBody>
            <a:bodyPr rtlCol="0" anchor="ctr"/>
            <a:lstStyle/>
            <a:p>
              <a:endParaRPr lang="en-LT"/>
            </a:p>
          </p:txBody>
        </p:sp>
        <p:sp>
          <p:nvSpPr>
            <p:cNvPr id="211" name="Freeform 210">
              <a:extLst>
                <a:ext uri="{FF2B5EF4-FFF2-40B4-BE49-F238E27FC236}">
                  <a16:creationId xmlns:a16="http://schemas.microsoft.com/office/drawing/2014/main" id="{E5BAA2B0-9CAF-7C4E-8025-7788F3F5FC11}"/>
                </a:ext>
              </a:extLst>
            </p:cNvPr>
            <p:cNvSpPr/>
            <p:nvPr/>
          </p:nvSpPr>
          <p:spPr>
            <a:xfrm rot="-1917689">
              <a:off x="5889555" y="3182606"/>
              <a:ext cx="68763" cy="47308"/>
            </a:xfrm>
            <a:custGeom>
              <a:avLst/>
              <a:gdLst>
                <a:gd name="connsiteX0" fmla="*/ 68255 w 68763"/>
                <a:gd name="connsiteY0" fmla="*/ 29383 h 47308"/>
                <a:gd name="connsiteX1" fmla="*/ 527 w 68763"/>
                <a:gd name="connsiteY1" fmla="*/ -104 h 47308"/>
                <a:gd name="connsiteX2" fmla="*/ 63733 w 68763"/>
                <a:gd name="connsiteY2" fmla="*/ 47205 h 47308"/>
                <a:gd name="connsiteX3" fmla="*/ 68255 w 68763"/>
                <a:gd name="connsiteY3" fmla="*/ 29383 h 47308"/>
              </a:gdLst>
              <a:ahLst/>
              <a:cxnLst>
                <a:cxn ang="0">
                  <a:pos x="connsiteX0" y="connsiteY0"/>
                </a:cxn>
                <a:cxn ang="0">
                  <a:pos x="connsiteX1" y="connsiteY1"/>
                </a:cxn>
                <a:cxn ang="0">
                  <a:pos x="connsiteX2" y="connsiteY2"/>
                </a:cxn>
                <a:cxn ang="0">
                  <a:pos x="connsiteX3" y="connsiteY3"/>
                </a:cxn>
              </a:cxnLst>
              <a:rect l="l" t="t" r="r" b="b"/>
              <a:pathLst>
                <a:path w="68763" h="47308">
                  <a:moveTo>
                    <a:pt x="68255" y="29383"/>
                  </a:moveTo>
                  <a:cubicBezTo>
                    <a:pt x="46291" y="22482"/>
                    <a:pt x="23965" y="13468"/>
                    <a:pt x="527" y="-104"/>
                  </a:cubicBezTo>
                  <a:cubicBezTo>
                    <a:pt x="-5700" y="25675"/>
                    <a:pt x="43009" y="39428"/>
                    <a:pt x="63733" y="47205"/>
                  </a:cubicBezTo>
                  <a:cubicBezTo>
                    <a:pt x="67506" y="40741"/>
                    <a:pt x="69806" y="34637"/>
                    <a:pt x="68255" y="29383"/>
                  </a:cubicBezTo>
                  <a:close/>
                </a:path>
              </a:pathLst>
            </a:custGeom>
            <a:grpFill/>
            <a:ln w="25598" cap="flat">
              <a:noFill/>
              <a:prstDash val="solid"/>
              <a:round/>
            </a:ln>
          </p:spPr>
          <p:txBody>
            <a:bodyPr rtlCol="0" anchor="ctr"/>
            <a:lstStyle/>
            <a:p>
              <a:endParaRPr lang="en-LT"/>
            </a:p>
          </p:txBody>
        </p:sp>
        <p:sp>
          <p:nvSpPr>
            <p:cNvPr id="212" name="Freeform 211">
              <a:extLst>
                <a:ext uri="{FF2B5EF4-FFF2-40B4-BE49-F238E27FC236}">
                  <a16:creationId xmlns:a16="http://schemas.microsoft.com/office/drawing/2014/main" id="{0F1C921E-AD2F-7542-9F7D-C34C4B9AC720}"/>
                </a:ext>
              </a:extLst>
            </p:cNvPr>
            <p:cNvSpPr/>
            <p:nvPr/>
          </p:nvSpPr>
          <p:spPr>
            <a:xfrm rot="-1917689">
              <a:off x="5823948" y="3192074"/>
              <a:ext cx="22164" cy="12543"/>
            </a:xfrm>
            <a:custGeom>
              <a:avLst/>
              <a:gdLst>
                <a:gd name="connsiteX0" fmla="*/ 22146 w 22164"/>
                <a:gd name="connsiteY0" fmla="*/ 12441 h 12543"/>
                <a:gd name="connsiteX1" fmla="*/ 22146 w 22164"/>
                <a:gd name="connsiteY1" fmla="*/ 12441 h 12543"/>
              </a:gdLst>
              <a:ahLst/>
              <a:cxnLst>
                <a:cxn ang="0">
                  <a:pos x="connsiteX0" y="connsiteY0"/>
                </a:cxn>
                <a:cxn ang="0">
                  <a:pos x="connsiteX1" y="connsiteY1"/>
                </a:cxn>
              </a:cxnLst>
              <a:rect l="l" t="t" r="r" b="b"/>
              <a:pathLst>
                <a:path w="22164" h="12543">
                  <a:moveTo>
                    <a:pt x="22146" y="12441"/>
                  </a:moveTo>
                  <a:cubicBezTo>
                    <a:pt x="-8811" y="-11381"/>
                    <a:pt x="-5969" y="4637"/>
                    <a:pt x="22146" y="12441"/>
                  </a:cubicBezTo>
                  <a:close/>
                </a:path>
              </a:pathLst>
            </a:custGeom>
            <a:grpFill/>
            <a:ln w="25598" cap="flat">
              <a:noFill/>
              <a:prstDash val="solid"/>
              <a:round/>
            </a:ln>
          </p:spPr>
          <p:txBody>
            <a:bodyPr rtlCol="0" anchor="ctr"/>
            <a:lstStyle/>
            <a:p>
              <a:endParaRPr lang="en-LT"/>
            </a:p>
          </p:txBody>
        </p:sp>
        <p:sp>
          <p:nvSpPr>
            <p:cNvPr id="213" name="Freeform 212">
              <a:extLst>
                <a:ext uri="{FF2B5EF4-FFF2-40B4-BE49-F238E27FC236}">
                  <a16:creationId xmlns:a16="http://schemas.microsoft.com/office/drawing/2014/main" id="{99C18780-3B51-5D4C-98D0-9D96E22DF720}"/>
                </a:ext>
              </a:extLst>
            </p:cNvPr>
            <p:cNvSpPr/>
            <p:nvPr/>
          </p:nvSpPr>
          <p:spPr>
            <a:xfrm rot="-1917689">
              <a:off x="5675727" y="3196137"/>
              <a:ext cx="14798" cy="13377"/>
            </a:xfrm>
            <a:custGeom>
              <a:avLst/>
              <a:gdLst>
                <a:gd name="connsiteX0" fmla="*/ 14779 w 14798"/>
                <a:gd name="connsiteY0" fmla="*/ 13278 h 13377"/>
                <a:gd name="connsiteX1" fmla="*/ 14779 w 14798"/>
                <a:gd name="connsiteY1" fmla="*/ 13278 h 13377"/>
              </a:gdLst>
              <a:ahLst/>
              <a:cxnLst>
                <a:cxn ang="0">
                  <a:pos x="connsiteX0" y="connsiteY0"/>
                </a:cxn>
                <a:cxn ang="0">
                  <a:pos x="connsiteX1" y="connsiteY1"/>
                </a:cxn>
              </a:cxnLst>
              <a:rect l="l" t="t" r="r" b="b"/>
              <a:pathLst>
                <a:path w="14798" h="13377">
                  <a:moveTo>
                    <a:pt x="14779" y="13278"/>
                  </a:moveTo>
                  <a:cubicBezTo>
                    <a:pt x="4365" y="-13969"/>
                    <a:pt x="-12535" y="7973"/>
                    <a:pt x="14779" y="13278"/>
                  </a:cubicBezTo>
                  <a:close/>
                </a:path>
              </a:pathLst>
            </a:custGeom>
            <a:grpFill/>
            <a:ln w="25598" cap="flat">
              <a:noFill/>
              <a:prstDash val="solid"/>
              <a:round/>
            </a:ln>
          </p:spPr>
          <p:txBody>
            <a:bodyPr rtlCol="0" anchor="ctr"/>
            <a:lstStyle/>
            <a:p>
              <a:endParaRPr lang="en-LT"/>
            </a:p>
          </p:txBody>
        </p:sp>
        <p:sp>
          <p:nvSpPr>
            <p:cNvPr id="214" name="Freeform 213">
              <a:extLst>
                <a:ext uri="{FF2B5EF4-FFF2-40B4-BE49-F238E27FC236}">
                  <a16:creationId xmlns:a16="http://schemas.microsoft.com/office/drawing/2014/main" id="{888BE25D-4E99-CE4C-8554-446B9D238F70}"/>
                </a:ext>
              </a:extLst>
            </p:cNvPr>
            <p:cNvSpPr/>
            <p:nvPr/>
          </p:nvSpPr>
          <p:spPr>
            <a:xfrm rot="-1917689">
              <a:off x="5700177" y="3191848"/>
              <a:ext cx="30440" cy="24698"/>
            </a:xfrm>
            <a:custGeom>
              <a:avLst/>
              <a:gdLst>
                <a:gd name="connsiteX0" fmla="*/ 30421 w 30440"/>
                <a:gd name="connsiteY0" fmla="*/ 22769 h 24698"/>
                <a:gd name="connsiteX1" fmla="*/ -20 w 30440"/>
                <a:gd name="connsiteY1" fmla="*/ -100 h 24698"/>
                <a:gd name="connsiteX2" fmla="*/ 30421 w 30440"/>
                <a:gd name="connsiteY2" fmla="*/ 22769 h 24698"/>
              </a:gdLst>
              <a:ahLst/>
              <a:cxnLst>
                <a:cxn ang="0">
                  <a:pos x="connsiteX0" y="connsiteY0"/>
                </a:cxn>
                <a:cxn ang="0">
                  <a:pos x="connsiteX1" y="connsiteY1"/>
                </a:cxn>
                <a:cxn ang="0">
                  <a:pos x="connsiteX2" y="connsiteY2"/>
                </a:cxn>
              </a:cxnLst>
              <a:rect l="l" t="t" r="r" b="b"/>
              <a:pathLst>
                <a:path w="30440" h="24698">
                  <a:moveTo>
                    <a:pt x="30421" y="22769"/>
                  </a:moveTo>
                  <a:cubicBezTo>
                    <a:pt x="26570" y="15146"/>
                    <a:pt x="4012" y="570"/>
                    <a:pt x="-20" y="-100"/>
                  </a:cubicBezTo>
                  <a:cubicBezTo>
                    <a:pt x="4864" y="6647"/>
                    <a:pt x="17836" y="31474"/>
                    <a:pt x="30421" y="22769"/>
                  </a:cubicBezTo>
                  <a:close/>
                </a:path>
              </a:pathLst>
            </a:custGeom>
            <a:grpFill/>
            <a:ln w="25598" cap="flat">
              <a:noFill/>
              <a:prstDash val="solid"/>
              <a:round/>
            </a:ln>
          </p:spPr>
          <p:txBody>
            <a:bodyPr rtlCol="0" anchor="ctr"/>
            <a:lstStyle/>
            <a:p>
              <a:endParaRPr lang="en-LT"/>
            </a:p>
          </p:txBody>
        </p:sp>
        <p:sp>
          <p:nvSpPr>
            <p:cNvPr id="215" name="Freeform 214">
              <a:extLst>
                <a:ext uri="{FF2B5EF4-FFF2-40B4-BE49-F238E27FC236}">
                  <a16:creationId xmlns:a16="http://schemas.microsoft.com/office/drawing/2014/main" id="{2B322ACC-519E-4244-B0B7-F02E6458E922}"/>
                </a:ext>
              </a:extLst>
            </p:cNvPr>
            <p:cNvSpPr/>
            <p:nvPr/>
          </p:nvSpPr>
          <p:spPr>
            <a:xfrm rot="-1917689">
              <a:off x="5770119" y="3191559"/>
              <a:ext cx="47135" cy="29510"/>
            </a:xfrm>
            <a:custGeom>
              <a:avLst/>
              <a:gdLst>
                <a:gd name="connsiteX0" fmla="*/ 47117 w 47135"/>
                <a:gd name="connsiteY0" fmla="*/ 29152 h 29510"/>
                <a:gd name="connsiteX1" fmla="*/ 2929 w 47135"/>
                <a:gd name="connsiteY1" fmla="*/ 926 h 29510"/>
                <a:gd name="connsiteX2" fmla="*/ 47117 w 47135"/>
                <a:gd name="connsiteY2" fmla="*/ 29152 h 29510"/>
              </a:gdLst>
              <a:ahLst/>
              <a:cxnLst>
                <a:cxn ang="0">
                  <a:pos x="connsiteX0" y="connsiteY0"/>
                </a:cxn>
                <a:cxn ang="0">
                  <a:pos x="connsiteX1" y="connsiteY1"/>
                </a:cxn>
                <a:cxn ang="0">
                  <a:pos x="connsiteX2" y="connsiteY2"/>
                </a:cxn>
              </a:cxnLst>
              <a:rect l="l" t="t" r="r" b="b"/>
              <a:pathLst>
                <a:path w="47135" h="29510">
                  <a:moveTo>
                    <a:pt x="47117" y="29152"/>
                  </a:moveTo>
                  <a:cubicBezTo>
                    <a:pt x="34403" y="21142"/>
                    <a:pt x="4997" y="2085"/>
                    <a:pt x="2929" y="926"/>
                  </a:cubicBezTo>
                  <a:cubicBezTo>
                    <a:pt x="-11179" y="-6929"/>
                    <a:pt x="28951" y="32963"/>
                    <a:pt x="47117" y="29152"/>
                  </a:cubicBezTo>
                  <a:close/>
                </a:path>
              </a:pathLst>
            </a:custGeom>
            <a:grpFill/>
            <a:ln w="25598" cap="flat">
              <a:noFill/>
              <a:prstDash val="solid"/>
              <a:round/>
            </a:ln>
          </p:spPr>
          <p:txBody>
            <a:bodyPr rtlCol="0" anchor="ctr"/>
            <a:lstStyle/>
            <a:p>
              <a:endParaRPr lang="en-LT"/>
            </a:p>
          </p:txBody>
        </p:sp>
        <p:sp>
          <p:nvSpPr>
            <p:cNvPr id="216" name="Freeform 215">
              <a:extLst>
                <a:ext uri="{FF2B5EF4-FFF2-40B4-BE49-F238E27FC236}">
                  <a16:creationId xmlns:a16="http://schemas.microsoft.com/office/drawing/2014/main" id="{F0D6CDDB-A5FA-C343-8824-7F84825CB986}"/>
                </a:ext>
              </a:extLst>
            </p:cNvPr>
            <p:cNvSpPr/>
            <p:nvPr/>
          </p:nvSpPr>
          <p:spPr>
            <a:xfrm rot="-1917689">
              <a:off x="5597240" y="3190566"/>
              <a:ext cx="68761" cy="43991"/>
            </a:xfrm>
            <a:custGeom>
              <a:avLst/>
              <a:gdLst>
                <a:gd name="connsiteX0" fmla="*/ -20 w 68761"/>
                <a:gd name="connsiteY0" fmla="*/ -67 h 43991"/>
                <a:gd name="connsiteX1" fmla="*/ 68742 w 68761"/>
                <a:gd name="connsiteY1" fmla="*/ 43894 h 43991"/>
                <a:gd name="connsiteX2" fmla="*/ -20 w 68761"/>
                <a:gd name="connsiteY2" fmla="*/ -67 h 43991"/>
              </a:gdLst>
              <a:ahLst/>
              <a:cxnLst>
                <a:cxn ang="0">
                  <a:pos x="connsiteX0" y="connsiteY0"/>
                </a:cxn>
                <a:cxn ang="0">
                  <a:pos x="connsiteX1" y="connsiteY1"/>
                </a:cxn>
                <a:cxn ang="0">
                  <a:pos x="connsiteX2" y="connsiteY2"/>
                </a:cxn>
              </a:cxnLst>
              <a:rect l="l" t="t" r="r" b="b"/>
              <a:pathLst>
                <a:path w="68761" h="43991">
                  <a:moveTo>
                    <a:pt x="-20" y="-67"/>
                  </a:moveTo>
                  <a:cubicBezTo>
                    <a:pt x="17216" y="14380"/>
                    <a:pt x="47061" y="37352"/>
                    <a:pt x="68742" y="43894"/>
                  </a:cubicBezTo>
                  <a:cubicBezTo>
                    <a:pt x="49000" y="30708"/>
                    <a:pt x="22306" y="-1227"/>
                    <a:pt x="-20" y="-67"/>
                  </a:cubicBezTo>
                  <a:close/>
                </a:path>
              </a:pathLst>
            </a:custGeom>
            <a:grpFill/>
            <a:ln w="25598" cap="flat">
              <a:noFill/>
              <a:prstDash val="solid"/>
              <a:round/>
            </a:ln>
          </p:spPr>
          <p:txBody>
            <a:bodyPr rtlCol="0" anchor="ctr"/>
            <a:lstStyle/>
            <a:p>
              <a:endParaRPr lang="en-LT"/>
            </a:p>
          </p:txBody>
        </p:sp>
        <p:sp>
          <p:nvSpPr>
            <p:cNvPr id="217" name="Freeform 216">
              <a:extLst>
                <a:ext uri="{FF2B5EF4-FFF2-40B4-BE49-F238E27FC236}">
                  <a16:creationId xmlns:a16="http://schemas.microsoft.com/office/drawing/2014/main" id="{1647F1D2-F1F4-F349-9525-162D5B675D1B}"/>
                </a:ext>
              </a:extLst>
            </p:cNvPr>
            <p:cNvSpPr/>
            <p:nvPr/>
          </p:nvSpPr>
          <p:spPr>
            <a:xfrm rot="-1917689">
              <a:off x="5822172" y="3202226"/>
              <a:ext cx="50699" cy="28947"/>
            </a:xfrm>
            <a:custGeom>
              <a:avLst/>
              <a:gdLst>
                <a:gd name="connsiteX0" fmla="*/ -19 w 50699"/>
                <a:gd name="connsiteY0" fmla="*/ -102 h 28947"/>
                <a:gd name="connsiteX1" fmla="*/ 50681 w 50699"/>
                <a:gd name="connsiteY1" fmla="*/ 28845 h 28947"/>
                <a:gd name="connsiteX2" fmla="*/ -19 w 50699"/>
                <a:gd name="connsiteY2" fmla="*/ -102 h 28947"/>
              </a:gdLst>
              <a:ahLst/>
              <a:cxnLst>
                <a:cxn ang="0">
                  <a:pos x="connsiteX0" y="connsiteY0"/>
                </a:cxn>
                <a:cxn ang="0">
                  <a:pos x="connsiteX1" y="connsiteY1"/>
                </a:cxn>
                <a:cxn ang="0">
                  <a:pos x="connsiteX2" y="connsiteY2"/>
                </a:cxn>
              </a:cxnLst>
              <a:rect l="l" t="t" r="r" b="b"/>
              <a:pathLst>
                <a:path w="50699" h="28947">
                  <a:moveTo>
                    <a:pt x="-19" y="-102"/>
                  </a:moveTo>
                  <a:cubicBezTo>
                    <a:pt x="16571" y="8267"/>
                    <a:pt x="35512" y="27196"/>
                    <a:pt x="50681" y="28845"/>
                  </a:cubicBezTo>
                  <a:cubicBezTo>
                    <a:pt x="46133" y="12363"/>
                    <a:pt x="14426" y="1391"/>
                    <a:pt x="-19" y="-102"/>
                  </a:cubicBezTo>
                  <a:close/>
                </a:path>
              </a:pathLst>
            </a:custGeom>
            <a:grpFill/>
            <a:ln w="25598" cap="flat">
              <a:noFill/>
              <a:prstDash val="solid"/>
              <a:round/>
            </a:ln>
          </p:spPr>
          <p:txBody>
            <a:bodyPr rtlCol="0" anchor="ctr"/>
            <a:lstStyle/>
            <a:p>
              <a:endParaRPr lang="en-LT"/>
            </a:p>
          </p:txBody>
        </p:sp>
        <p:sp>
          <p:nvSpPr>
            <p:cNvPr id="218" name="Freeform 217">
              <a:extLst>
                <a:ext uri="{FF2B5EF4-FFF2-40B4-BE49-F238E27FC236}">
                  <a16:creationId xmlns:a16="http://schemas.microsoft.com/office/drawing/2014/main" id="{956D7DF7-BA50-184A-99AE-BB66CFA671A4}"/>
                </a:ext>
              </a:extLst>
            </p:cNvPr>
            <p:cNvSpPr/>
            <p:nvPr/>
          </p:nvSpPr>
          <p:spPr>
            <a:xfrm rot="-1917689">
              <a:off x="5919505" y="3210199"/>
              <a:ext cx="48993" cy="55583"/>
            </a:xfrm>
            <a:custGeom>
              <a:avLst/>
              <a:gdLst>
                <a:gd name="connsiteX0" fmla="*/ 48976 w 48993"/>
                <a:gd name="connsiteY0" fmla="*/ 21202 h 55583"/>
                <a:gd name="connsiteX1" fmla="*/ -18 w 48993"/>
                <a:gd name="connsiteY1" fmla="*/ 213 h 55583"/>
                <a:gd name="connsiteX2" fmla="*/ 26908 w 48993"/>
                <a:gd name="connsiteY2" fmla="*/ 55480 h 55583"/>
                <a:gd name="connsiteX3" fmla="*/ 48976 w 48993"/>
                <a:gd name="connsiteY3" fmla="*/ 21202 h 55583"/>
              </a:gdLst>
              <a:ahLst/>
              <a:cxnLst>
                <a:cxn ang="0">
                  <a:pos x="connsiteX0" y="connsiteY0"/>
                </a:cxn>
                <a:cxn ang="0">
                  <a:pos x="connsiteX1" y="connsiteY1"/>
                </a:cxn>
                <a:cxn ang="0">
                  <a:pos x="connsiteX2" y="connsiteY2"/>
                </a:cxn>
                <a:cxn ang="0">
                  <a:pos x="connsiteX3" y="connsiteY3"/>
                </a:cxn>
              </a:cxnLst>
              <a:rect l="l" t="t" r="r" b="b"/>
              <a:pathLst>
                <a:path w="48993" h="55583">
                  <a:moveTo>
                    <a:pt x="48976" y="21202"/>
                  </a:moveTo>
                  <a:cubicBezTo>
                    <a:pt x="33058" y="16206"/>
                    <a:pt x="14091" y="-2775"/>
                    <a:pt x="-18" y="213"/>
                  </a:cubicBezTo>
                  <a:cubicBezTo>
                    <a:pt x="11869" y="18034"/>
                    <a:pt x="16727" y="37272"/>
                    <a:pt x="26908" y="55480"/>
                  </a:cubicBezTo>
                  <a:cubicBezTo>
                    <a:pt x="34221" y="44071"/>
                    <a:pt x="41611" y="32585"/>
                    <a:pt x="48976" y="21202"/>
                  </a:cubicBezTo>
                  <a:close/>
                </a:path>
              </a:pathLst>
            </a:custGeom>
            <a:grpFill/>
            <a:ln w="25598" cap="flat">
              <a:noFill/>
              <a:prstDash val="solid"/>
              <a:round/>
            </a:ln>
          </p:spPr>
          <p:txBody>
            <a:bodyPr rtlCol="0" anchor="ctr"/>
            <a:lstStyle/>
            <a:p>
              <a:endParaRPr lang="en-LT"/>
            </a:p>
          </p:txBody>
        </p:sp>
        <p:sp>
          <p:nvSpPr>
            <p:cNvPr id="219" name="Freeform 218">
              <a:extLst>
                <a:ext uri="{FF2B5EF4-FFF2-40B4-BE49-F238E27FC236}">
                  <a16:creationId xmlns:a16="http://schemas.microsoft.com/office/drawing/2014/main" id="{548FF9AA-6A85-6546-9C1C-389FACDB0C1D}"/>
                </a:ext>
              </a:extLst>
            </p:cNvPr>
            <p:cNvSpPr/>
            <p:nvPr/>
          </p:nvSpPr>
          <p:spPr>
            <a:xfrm rot="-1917689">
              <a:off x="5824356" y="3176492"/>
              <a:ext cx="122384" cy="189725"/>
            </a:xfrm>
            <a:custGeom>
              <a:avLst/>
              <a:gdLst>
                <a:gd name="connsiteX0" fmla="*/ 122363 w 122384"/>
                <a:gd name="connsiteY0" fmla="*/ 143782 h 189725"/>
                <a:gd name="connsiteX1" fmla="*/ 90864 w 122384"/>
                <a:gd name="connsiteY1" fmla="*/ 57971 h 189725"/>
                <a:gd name="connsiteX2" fmla="*/ -17 w 122384"/>
                <a:gd name="connsiteY2" fmla="*/ -103 h 189725"/>
                <a:gd name="connsiteX3" fmla="*/ 85954 w 122384"/>
                <a:gd name="connsiteY3" fmla="*/ 189623 h 189725"/>
                <a:gd name="connsiteX4" fmla="*/ 122363 w 122384"/>
                <a:gd name="connsiteY4" fmla="*/ 143782 h 18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84" h="189725">
                  <a:moveTo>
                    <a:pt x="122363" y="143782"/>
                  </a:moveTo>
                  <a:cubicBezTo>
                    <a:pt x="122699" y="112852"/>
                    <a:pt x="99675" y="86944"/>
                    <a:pt x="90864" y="57971"/>
                  </a:cubicBezTo>
                  <a:cubicBezTo>
                    <a:pt x="56806" y="40819"/>
                    <a:pt x="29544" y="11048"/>
                    <a:pt x="-17" y="-103"/>
                  </a:cubicBezTo>
                  <a:cubicBezTo>
                    <a:pt x="32464" y="62246"/>
                    <a:pt x="54584" y="126913"/>
                    <a:pt x="85954" y="189623"/>
                  </a:cubicBezTo>
                  <a:cubicBezTo>
                    <a:pt x="97660" y="177081"/>
                    <a:pt x="112880" y="135309"/>
                    <a:pt x="122363" y="143782"/>
                  </a:cubicBezTo>
                  <a:close/>
                </a:path>
              </a:pathLst>
            </a:custGeom>
            <a:grpFill/>
            <a:ln w="25598" cap="flat">
              <a:noFill/>
              <a:prstDash val="solid"/>
              <a:round/>
            </a:ln>
          </p:spPr>
          <p:txBody>
            <a:bodyPr rtlCol="0" anchor="ctr"/>
            <a:lstStyle/>
            <a:p>
              <a:endParaRPr lang="en-LT"/>
            </a:p>
          </p:txBody>
        </p:sp>
        <p:sp>
          <p:nvSpPr>
            <p:cNvPr id="220" name="Freeform 219">
              <a:extLst>
                <a:ext uri="{FF2B5EF4-FFF2-40B4-BE49-F238E27FC236}">
                  <a16:creationId xmlns:a16="http://schemas.microsoft.com/office/drawing/2014/main" id="{B2F28D5A-EBD5-9C4D-B384-24565334FCF9}"/>
                </a:ext>
              </a:extLst>
            </p:cNvPr>
            <p:cNvSpPr/>
            <p:nvPr/>
          </p:nvSpPr>
          <p:spPr>
            <a:xfrm rot="-1917689">
              <a:off x="5712989" y="3218388"/>
              <a:ext cx="17713" cy="26496"/>
            </a:xfrm>
            <a:custGeom>
              <a:avLst/>
              <a:gdLst>
                <a:gd name="connsiteX0" fmla="*/ -19 w 17713"/>
                <a:gd name="connsiteY0" fmla="*/ -52 h 26496"/>
                <a:gd name="connsiteX1" fmla="*/ 14219 w 17713"/>
                <a:gd name="connsiteY1" fmla="*/ 26397 h 26496"/>
                <a:gd name="connsiteX2" fmla="*/ -19 w 17713"/>
                <a:gd name="connsiteY2" fmla="*/ -52 h 26496"/>
              </a:gdLst>
              <a:ahLst/>
              <a:cxnLst>
                <a:cxn ang="0">
                  <a:pos x="connsiteX0" y="connsiteY0"/>
                </a:cxn>
                <a:cxn ang="0">
                  <a:pos x="connsiteX1" y="connsiteY1"/>
                </a:cxn>
                <a:cxn ang="0">
                  <a:pos x="connsiteX2" y="connsiteY2"/>
                </a:cxn>
              </a:cxnLst>
              <a:rect l="l" t="t" r="r" b="b"/>
              <a:pathLst>
                <a:path w="17713" h="26496">
                  <a:moveTo>
                    <a:pt x="-19" y="-52"/>
                  </a:moveTo>
                  <a:cubicBezTo>
                    <a:pt x="7242" y="8214"/>
                    <a:pt x="9542" y="17589"/>
                    <a:pt x="14219" y="26397"/>
                  </a:cubicBezTo>
                  <a:cubicBezTo>
                    <a:pt x="23703" y="15761"/>
                    <a:pt x="12049" y="-1108"/>
                    <a:pt x="-19" y="-52"/>
                  </a:cubicBezTo>
                  <a:close/>
                </a:path>
              </a:pathLst>
            </a:custGeom>
            <a:grpFill/>
            <a:ln w="25598" cap="flat">
              <a:noFill/>
              <a:prstDash val="solid"/>
              <a:round/>
            </a:ln>
          </p:spPr>
          <p:txBody>
            <a:bodyPr rtlCol="0" anchor="ctr"/>
            <a:lstStyle/>
            <a:p>
              <a:endParaRPr lang="en-LT"/>
            </a:p>
          </p:txBody>
        </p:sp>
        <p:sp>
          <p:nvSpPr>
            <p:cNvPr id="221" name="Freeform 220">
              <a:extLst>
                <a:ext uri="{FF2B5EF4-FFF2-40B4-BE49-F238E27FC236}">
                  <a16:creationId xmlns:a16="http://schemas.microsoft.com/office/drawing/2014/main" id="{5BF140F5-6A35-F843-A5FD-76310F44E4BF}"/>
                </a:ext>
              </a:extLst>
            </p:cNvPr>
            <p:cNvSpPr/>
            <p:nvPr/>
          </p:nvSpPr>
          <p:spPr>
            <a:xfrm rot="-1917689">
              <a:off x="5683451" y="1771367"/>
              <a:ext cx="172365" cy="298678"/>
            </a:xfrm>
            <a:custGeom>
              <a:avLst/>
              <a:gdLst>
                <a:gd name="connsiteX0" fmla="*/ 139932 w 172365"/>
                <a:gd name="connsiteY0" fmla="*/ 120665 h 298678"/>
                <a:gd name="connsiteX1" fmla="*/ 109311 w 172365"/>
                <a:gd name="connsiteY1" fmla="*/ 38924 h 298678"/>
                <a:gd name="connsiteX2" fmla="*/ 139932 w 172365"/>
                <a:gd name="connsiteY2" fmla="*/ 120665 h 298678"/>
                <a:gd name="connsiteX3" fmla="*/ 164119 w 172365"/>
                <a:gd name="connsiteY3" fmla="*/ 66995 h 298678"/>
                <a:gd name="connsiteX4" fmla="*/ -46 w 172365"/>
                <a:gd name="connsiteY4" fmla="*/ 31198 h 298678"/>
                <a:gd name="connsiteX5" fmla="*/ 115565 w 172365"/>
                <a:gd name="connsiteY5" fmla="*/ 298570 h 298678"/>
                <a:gd name="connsiteX6" fmla="*/ 132232 w 172365"/>
                <a:gd name="connsiteY6" fmla="*/ 278122 h 298678"/>
                <a:gd name="connsiteX7" fmla="*/ 109182 w 172365"/>
                <a:gd name="connsiteY7" fmla="*/ 211549 h 298678"/>
                <a:gd name="connsiteX8" fmla="*/ 136961 w 172365"/>
                <a:gd name="connsiteY8" fmla="*/ 270731 h 298678"/>
                <a:gd name="connsiteX9" fmla="*/ 164119 w 172365"/>
                <a:gd name="connsiteY9" fmla="*/ 66995 h 2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65" h="298678">
                  <a:moveTo>
                    <a:pt x="139932" y="120665"/>
                  </a:moveTo>
                  <a:cubicBezTo>
                    <a:pt x="135695" y="108767"/>
                    <a:pt x="135953" y="59913"/>
                    <a:pt x="109311" y="38924"/>
                  </a:cubicBezTo>
                  <a:cubicBezTo>
                    <a:pt x="140785" y="53114"/>
                    <a:pt x="138821" y="92826"/>
                    <a:pt x="139932" y="120665"/>
                  </a:cubicBezTo>
                  <a:close/>
                  <a:moveTo>
                    <a:pt x="164119" y="66995"/>
                  </a:moveTo>
                  <a:cubicBezTo>
                    <a:pt x="142465" y="-8179"/>
                    <a:pt x="55382" y="-20309"/>
                    <a:pt x="-46" y="31198"/>
                  </a:cubicBezTo>
                  <a:cubicBezTo>
                    <a:pt x="43366" y="119275"/>
                    <a:pt x="70344" y="210931"/>
                    <a:pt x="115565" y="298570"/>
                  </a:cubicBezTo>
                  <a:cubicBezTo>
                    <a:pt x="120578" y="289196"/>
                    <a:pt x="126263" y="282887"/>
                    <a:pt x="132232" y="278122"/>
                  </a:cubicBezTo>
                  <a:cubicBezTo>
                    <a:pt x="126392" y="255536"/>
                    <a:pt x="113601" y="234419"/>
                    <a:pt x="109182" y="211549"/>
                  </a:cubicBezTo>
                  <a:cubicBezTo>
                    <a:pt x="120113" y="230916"/>
                    <a:pt x="122438" y="252214"/>
                    <a:pt x="136961" y="270731"/>
                  </a:cubicBezTo>
                  <a:cubicBezTo>
                    <a:pt x="173809" y="212502"/>
                    <a:pt x="179985" y="122391"/>
                    <a:pt x="164119" y="66995"/>
                  </a:cubicBezTo>
                  <a:close/>
                </a:path>
              </a:pathLst>
            </a:custGeom>
            <a:grpFill/>
            <a:ln w="25598" cap="flat">
              <a:noFill/>
              <a:prstDash val="solid"/>
              <a:round/>
            </a:ln>
          </p:spPr>
          <p:txBody>
            <a:bodyPr rtlCol="0" anchor="ctr"/>
            <a:lstStyle/>
            <a:p>
              <a:endParaRPr lang="en-LT"/>
            </a:p>
          </p:txBody>
        </p:sp>
        <p:sp>
          <p:nvSpPr>
            <p:cNvPr id="222" name="Freeform 221">
              <a:extLst>
                <a:ext uri="{FF2B5EF4-FFF2-40B4-BE49-F238E27FC236}">
                  <a16:creationId xmlns:a16="http://schemas.microsoft.com/office/drawing/2014/main" id="{3056B835-6F82-0F45-9112-971EB5A3CA41}"/>
                </a:ext>
              </a:extLst>
            </p:cNvPr>
            <p:cNvSpPr/>
            <p:nvPr/>
          </p:nvSpPr>
          <p:spPr>
            <a:xfrm rot="-1917689">
              <a:off x="5535033" y="2320352"/>
              <a:ext cx="123646" cy="252255"/>
            </a:xfrm>
            <a:custGeom>
              <a:avLst/>
              <a:gdLst>
                <a:gd name="connsiteX0" fmla="*/ -36 w 123646"/>
                <a:gd name="connsiteY0" fmla="*/ 18364 h 252255"/>
                <a:gd name="connsiteX1" fmla="*/ 95600 w 123646"/>
                <a:gd name="connsiteY1" fmla="*/ 252154 h 252255"/>
                <a:gd name="connsiteX2" fmla="*/ 108882 w 123646"/>
                <a:gd name="connsiteY2" fmla="*/ 177726 h 252255"/>
                <a:gd name="connsiteX3" fmla="*/ 118882 w 123646"/>
                <a:gd name="connsiteY3" fmla="*/ 194466 h 252255"/>
                <a:gd name="connsiteX4" fmla="*/ 123611 w 123646"/>
                <a:gd name="connsiteY4" fmla="*/ 187152 h 252255"/>
                <a:gd name="connsiteX5" fmla="*/ 36037 w 123646"/>
                <a:gd name="connsiteY5" fmla="*/ -102 h 252255"/>
                <a:gd name="connsiteX6" fmla="*/ -36 w 123646"/>
                <a:gd name="connsiteY6" fmla="*/ 18364 h 25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646" h="252255">
                  <a:moveTo>
                    <a:pt x="-36" y="18364"/>
                  </a:moveTo>
                  <a:cubicBezTo>
                    <a:pt x="39190" y="94697"/>
                    <a:pt x="59837" y="175099"/>
                    <a:pt x="95600" y="252154"/>
                  </a:cubicBezTo>
                  <a:cubicBezTo>
                    <a:pt x="109631" y="225293"/>
                    <a:pt x="121285" y="198895"/>
                    <a:pt x="108882" y="177726"/>
                  </a:cubicBezTo>
                  <a:cubicBezTo>
                    <a:pt x="114618" y="182799"/>
                    <a:pt x="111595" y="189830"/>
                    <a:pt x="118882" y="194466"/>
                  </a:cubicBezTo>
                  <a:cubicBezTo>
                    <a:pt x="120458" y="192045"/>
                    <a:pt x="122035" y="189599"/>
                    <a:pt x="123611" y="187152"/>
                  </a:cubicBezTo>
                  <a:cubicBezTo>
                    <a:pt x="96892" y="124210"/>
                    <a:pt x="72059" y="60857"/>
                    <a:pt x="36037" y="-102"/>
                  </a:cubicBezTo>
                  <a:cubicBezTo>
                    <a:pt x="24590" y="8526"/>
                    <a:pt x="10791" y="6491"/>
                    <a:pt x="-36" y="18364"/>
                  </a:cubicBezTo>
                  <a:close/>
                </a:path>
              </a:pathLst>
            </a:custGeom>
            <a:grpFill/>
            <a:ln w="25598" cap="flat">
              <a:noFill/>
              <a:prstDash val="solid"/>
              <a:round/>
            </a:ln>
          </p:spPr>
          <p:txBody>
            <a:bodyPr rtlCol="0" anchor="ctr"/>
            <a:lstStyle/>
            <a:p>
              <a:endParaRPr lang="en-LT"/>
            </a:p>
          </p:txBody>
        </p:sp>
        <p:sp>
          <p:nvSpPr>
            <p:cNvPr id="223" name="Freeform 222">
              <a:extLst>
                <a:ext uri="{FF2B5EF4-FFF2-40B4-BE49-F238E27FC236}">
                  <a16:creationId xmlns:a16="http://schemas.microsoft.com/office/drawing/2014/main" id="{E83BA014-CB0C-9F48-BAD0-DB873208B6B8}"/>
                </a:ext>
              </a:extLst>
            </p:cNvPr>
            <p:cNvSpPr/>
            <p:nvPr/>
          </p:nvSpPr>
          <p:spPr>
            <a:xfrm rot="-1917689">
              <a:off x="5853419" y="2498660"/>
              <a:ext cx="12474" cy="47575"/>
            </a:xfrm>
            <a:custGeom>
              <a:avLst/>
              <a:gdLst>
                <a:gd name="connsiteX0" fmla="*/ 10407 w 12474"/>
                <a:gd name="connsiteY0" fmla="*/ 37622 h 47575"/>
                <a:gd name="connsiteX1" fmla="*/ -33 w 12474"/>
                <a:gd name="connsiteY1" fmla="*/ -107 h 47575"/>
                <a:gd name="connsiteX2" fmla="*/ 10407 w 12474"/>
                <a:gd name="connsiteY2" fmla="*/ 37622 h 47575"/>
              </a:gdLst>
              <a:ahLst/>
              <a:cxnLst>
                <a:cxn ang="0">
                  <a:pos x="connsiteX0" y="connsiteY0"/>
                </a:cxn>
                <a:cxn ang="0">
                  <a:pos x="connsiteX1" y="connsiteY1"/>
                </a:cxn>
                <a:cxn ang="0">
                  <a:pos x="connsiteX2" y="connsiteY2"/>
                </a:cxn>
              </a:cxnLst>
              <a:rect l="l" t="t" r="r" b="b"/>
              <a:pathLst>
                <a:path w="12474" h="47575">
                  <a:moveTo>
                    <a:pt x="10407" y="37622"/>
                  </a:moveTo>
                  <a:cubicBezTo>
                    <a:pt x="8598" y="30334"/>
                    <a:pt x="7332" y="15345"/>
                    <a:pt x="-33" y="-107"/>
                  </a:cubicBezTo>
                  <a:cubicBezTo>
                    <a:pt x="794" y="15525"/>
                    <a:pt x="18288" y="69376"/>
                    <a:pt x="10407" y="37622"/>
                  </a:cubicBezTo>
                  <a:close/>
                </a:path>
              </a:pathLst>
            </a:custGeom>
            <a:grpFill/>
            <a:ln w="25598" cap="flat">
              <a:noFill/>
              <a:prstDash val="solid"/>
              <a:round/>
            </a:ln>
          </p:spPr>
          <p:txBody>
            <a:bodyPr rtlCol="0" anchor="ctr"/>
            <a:lstStyle/>
            <a:p>
              <a:endParaRPr lang="en-LT"/>
            </a:p>
          </p:txBody>
        </p:sp>
        <p:sp>
          <p:nvSpPr>
            <p:cNvPr id="224" name="Freeform 223">
              <a:extLst>
                <a:ext uri="{FF2B5EF4-FFF2-40B4-BE49-F238E27FC236}">
                  <a16:creationId xmlns:a16="http://schemas.microsoft.com/office/drawing/2014/main" id="{89FE9391-B830-104D-A13F-6B2B1EEA660F}"/>
                </a:ext>
              </a:extLst>
            </p:cNvPr>
            <p:cNvSpPr/>
            <p:nvPr/>
          </p:nvSpPr>
          <p:spPr>
            <a:xfrm rot="-1917689">
              <a:off x="5773209" y="2467034"/>
              <a:ext cx="144009" cy="324571"/>
            </a:xfrm>
            <a:custGeom>
              <a:avLst/>
              <a:gdLst>
                <a:gd name="connsiteX0" fmla="*/ 102375 w 144009"/>
                <a:gd name="connsiteY0" fmla="*/ 234998 h 324571"/>
                <a:gd name="connsiteX1" fmla="*/ 89765 w 144009"/>
                <a:gd name="connsiteY1" fmla="*/ 206154 h 324571"/>
                <a:gd name="connsiteX2" fmla="*/ 99352 w 144009"/>
                <a:gd name="connsiteY2" fmla="*/ 201982 h 324571"/>
                <a:gd name="connsiteX3" fmla="*/ 102375 w 144009"/>
                <a:gd name="connsiteY3" fmla="*/ 234998 h 324571"/>
                <a:gd name="connsiteX4" fmla="*/ 143979 w 144009"/>
                <a:gd name="connsiteY4" fmla="*/ 251223 h 324571"/>
                <a:gd name="connsiteX5" fmla="*/ 114288 w 144009"/>
                <a:gd name="connsiteY5" fmla="*/ 173524 h 324571"/>
                <a:gd name="connsiteX6" fmla="*/ 79791 w 144009"/>
                <a:gd name="connsiteY6" fmla="*/ 103114 h 324571"/>
                <a:gd name="connsiteX7" fmla="*/ 113771 w 144009"/>
                <a:gd name="connsiteY7" fmla="*/ 190470 h 324571"/>
                <a:gd name="connsiteX8" fmla="*/ 31831 w 144009"/>
                <a:gd name="connsiteY8" fmla="*/ -106 h 324571"/>
                <a:gd name="connsiteX9" fmla="*/ -31 w 144009"/>
                <a:gd name="connsiteY9" fmla="*/ 27888 h 324571"/>
                <a:gd name="connsiteX10" fmla="*/ 107259 w 144009"/>
                <a:gd name="connsiteY10" fmla="*/ 324465 h 324571"/>
                <a:gd name="connsiteX11" fmla="*/ 143979 w 144009"/>
                <a:gd name="connsiteY11" fmla="*/ 251223 h 32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09" h="324571">
                  <a:moveTo>
                    <a:pt x="102375" y="234998"/>
                  </a:moveTo>
                  <a:cubicBezTo>
                    <a:pt x="98396" y="225340"/>
                    <a:pt x="96070" y="215348"/>
                    <a:pt x="89765" y="206154"/>
                  </a:cubicBezTo>
                  <a:cubicBezTo>
                    <a:pt x="92711" y="203553"/>
                    <a:pt x="96484" y="205098"/>
                    <a:pt x="99352" y="201982"/>
                  </a:cubicBezTo>
                  <a:cubicBezTo>
                    <a:pt x="103771" y="212258"/>
                    <a:pt x="105967" y="222997"/>
                    <a:pt x="102375" y="234998"/>
                  </a:cubicBezTo>
                  <a:close/>
                  <a:moveTo>
                    <a:pt x="143979" y="251223"/>
                  </a:moveTo>
                  <a:cubicBezTo>
                    <a:pt x="136381" y="227349"/>
                    <a:pt x="124081" y="199793"/>
                    <a:pt x="114288" y="173524"/>
                  </a:cubicBezTo>
                  <a:cubicBezTo>
                    <a:pt x="105114" y="149007"/>
                    <a:pt x="100721" y="110351"/>
                    <a:pt x="79791" y="103114"/>
                  </a:cubicBezTo>
                  <a:cubicBezTo>
                    <a:pt x="92866" y="131803"/>
                    <a:pt x="105450" y="160673"/>
                    <a:pt x="113771" y="190470"/>
                  </a:cubicBezTo>
                  <a:cubicBezTo>
                    <a:pt x="85760" y="127091"/>
                    <a:pt x="63873" y="62398"/>
                    <a:pt x="31831" y="-106"/>
                  </a:cubicBezTo>
                  <a:cubicBezTo>
                    <a:pt x="21546" y="10891"/>
                    <a:pt x="11546" y="23175"/>
                    <a:pt x="-31" y="27888"/>
                  </a:cubicBezTo>
                  <a:cubicBezTo>
                    <a:pt x="38834" y="126035"/>
                    <a:pt x="71108" y="225701"/>
                    <a:pt x="107259" y="324465"/>
                  </a:cubicBezTo>
                  <a:cubicBezTo>
                    <a:pt x="119585" y="300051"/>
                    <a:pt x="132040" y="275585"/>
                    <a:pt x="143979" y="251223"/>
                  </a:cubicBezTo>
                  <a:close/>
                </a:path>
              </a:pathLst>
            </a:custGeom>
            <a:grpFill/>
            <a:ln w="25598" cap="flat">
              <a:noFill/>
              <a:prstDash val="solid"/>
              <a:round/>
            </a:ln>
          </p:spPr>
          <p:txBody>
            <a:bodyPr rtlCol="0" anchor="ctr"/>
            <a:lstStyle/>
            <a:p>
              <a:endParaRPr lang="en-LT"/>
            </a:p>
          </p:txBody>
        </p:sp>
        <p:sp>
          <p:nvSpPr>
            <p:cNvPr id="225" name="Freeform 224">
              <a:extLst>
                <a:ext uri="{FF2B5EF4-FFF2-40B4-BE49-F238E27FC236}">
                  <a16:creationId xmlns:a16="http://schemas.microsoft.com/office/drawing/2014/main" id="{FAC339E5-E5C0-B24D-BD53-67D8CEA79FCF}"/>
                </a:ext>
              </a:extLst>
            </p:cNvPr>
            <p:cNvSpPr/>
            <p:nvPr/>
          </p:nvSpPr>
          <p:spPr>
            <a:xfrm rot="-1917689">
              <a:off x="5991541" y="2671545"/>
              <a:ext cx="16873" cy="38372"/>
            </a:xfrm>
            <a:custGeom>
              <a:avLst/>
              <a:gdLst>
                <a:gd name="connsiteX0" fmla="*/ 16845 w 16873"/>
                <a:gd name="connsiteY0" fmla="*/ 38264 h 38372"/>
                <a:gd name="connsiteX1" fmla="*/ -28 w 16873"/>
                <a:gd name="connsiteY1" fmla="*/ -109 h 38372"/>
                <a:gd name="connsiteX2" fmla="*/ 16845 w 16873"/>
                <a:gd name="connsiteY2" fmla="*/ 38264 h 38372"/>
              </a:gdLst>
              <a:ahLst/>
              <a:cxnLst>
                <a:cxn ang="0">
                  <a:pos x="connsiteX0" y="connsiteY0"/>
                </a:cxn>
                <a:cxn ang="0">
                  <a:pos x="connsiteX1" y="connsiteY1"/>
                </a:cxn>
                <a:cxn ang="0">
                  <a:pos x="connsiteX2" y="connsiteY2"/>
                </a:cxn>
              </a:cxnLst>
              <a:rect l="l" t="t" r="r" b="b"/>
              <a:pathLst>
                <a:path w="16873" h="38372">
                  <a:moveTo>
                    <a:pt x="16845" y="38264"/>
                  </a:moveTo>
                  <a:cubicBezTo>
                    <a:pt x="9610" y="27216"/>
                    <a:pt x="11445" y="3085"/>
                    <a:pt x="-28" y="-109"/>
                  </a:cubicBezTo>
                  <a:cubicBezTo>
                    <a:pt x="6096" y="11223"/>
                    <a:pt x="9248" y="34247"/>
                    <a:pt x="16845" y="38264"/>
                  </a:cubicBezTo>
                  <a:close/>
                </a:path>
              </a:pathLst>
            </a:custGeom>
            <a:grpFill/>
            <a:ln w="25598" cap="flat">
              <a:noFill/>
              <a:prstDash val="solid"/>
              <a:round/>
            </a:ln>
          </p:spPr>
          <p:txBody>
            <a:bodyPr rtlCol="0" anchor="ctr"/>
            <a:lstStyle/>
            <a:p>
              <a:endParaRPr lang="en-LT"/>
            </a:p>
          </p:txBody>
        </p:sp>
        <p:sp>
          <p:nvSpPr>
            <p:cNvPr id="226" name="Freeform 225">
              <a:extLst>
                <a:ext uri="{FF2B5EF4-FFF2-40B4-BE49-F238E27FC236}">
                  <a16:creationId xmlns:a16="http://schemas.microsoft.com/office/drawing/2014/main" id="{0076B0A8-210D-444D-AB82-12F511FE76FC}"/>
                </a:ext>
              </a:extLst>
            </p:cNvPr>
            <p:cNvSpPr/>
            <p:nvPr/>
          </p:nvSpPr>
          <p:spPr>
            <a:xfrm rot="-1917689">
              <a:off x="5200568" y="2999564"/>
              <a:ext cx="1228017" cy="1141935"/>
            </a:xfrm>
            <a:custGeom>
              <a:avLst/>
              <a:gdLst>
                <a:gd name="connsiteX0" fmla="*/ 629954 w 1228017"/>
                <a:gd name="connsiteY0" fmla="*/ 970395 h 1141935"/>
                <a:gd name="connsiteX1" fmla="*/ 870090 w 1228017"/>
                <a:gd name="connsiteY1" fmla="*/ 591870 h 1141935"/>
                <a:gd name="connsiteX2" fmla="*/ 906783 w 1228017"/>
                <a:gd name="connsiteY2" fmla="*/ 604953 h 1141935"/>
                <a:gd name="connsiteX3" fmla="*/ 629954 w 1228017"/>
                <a:gd name="connsiteY3" fmla="*/ 970395 h 1141935"/>
                <a:gd name="connsiteX4" fmla="*/ 649877 w 1228017"/>
                <a:gd name="connsiteY4" fmla="*/ 858728 h 1141935"/>
                <a:gd name="connsiteX5" fmla="*/ 633391 w 1228017"/>
                <a:gd name="connsiteY5" fmla="*/ 889761 h 1141935"/>
                <a:gd name="connsiteX6" fmla="*/ 649877 w 1228017"/>
                <a:gd name="connsiteY6" fmla="*/ 858728 h 1141935"/>
                <a:gd name="connsiteX7" fmla="*/ 725435 w 1228017"/>
                <a:gd name="connsiteY7" fmla="*/ 741292 h 1141935"/>
                <a:gd name="connsiteX8" fmla="*/ 704297 w 1228017"/>
                <a:gd name="connsiteY8" fmla="*/ 779510 h 1141935"/>
                <a:gd name="connsiteX9" fmla="*/ 725435 w 1228017"/>
                <a:gd name="connsiteY9" fmla="*/ 741292 h 1141935"/>
                <a:gd name="connsiteX10" fmla="*/ 774092 w 1228017"/>
                <a:gd name="connsiteY10" fmla="*/ 654889 h 1141935"/>
                <a:gd name="connsiteX11" fmla="*/ 834817 w 1228017"/>
                <a:gd name="connsiteY11" fmla="*/ 565911 h 1141935"/>
                <a:gd name="connsiteX12" fmla="*/ 749105 w 1228017"/>
                <a:gd name="connsiteY12" fmla="*/ 704516 h 1141935"/>
                <a:gd name="connsiteX13" fmla="*/ 774092 w 1228017"/>
                <a:gd name="connsiteY13" fmla="*/ 654889 h 1141935"/>
                <a:gd name="connsiteX14" fmla="*/ 897636 w 1228017"/>
                <a:gd name="connsiteY14" fmla="*/ 505853 h 1141935"/>
                <a:gd name="connsiteX15" fmla="*/ 945777 w 1228017"/>
                <a:gd name="connsiteY15" fmla="*/ 522799 h 1141935"/>
                <a:gd name="connsiteX16" fmla="*/ 919187 w 1228017"/>
                <a:gd name="connsiteY16" fmla="*/ 574898 h 1141935"/>
                <a:gd name="connsiteX17" fmla="*/ 873216 w 1228017"/>
                <a:gd name="connsiteY17" fmla="*/ 538560 h 1141935"/>
                <a:gd name="connsiteX18" fmla="*/ 897636 w 1228017"/>
                <a:gd name="connsiteY18" fmla="*/ 505853 h 1141935"/>
                <a:gd name="connsiteX19" fmla="*/ 904638 w 1228017"/>
                <a:gd name="connsiteY19" fmla="*/ 759088 h 1141935"/>
                <a:gd name="connsiteX20" fmla="*/ 922675 w 1228017"/>
                <a:gd name="connsiteY20" fmla="*/ 725660 h 1141935"/>
                <a:gd name="connsiteX21" fmla="*/ 904638 w 1228017"/>
                <a:gd name="connsiteY21" fmla="*/ 759088 h 1141935"/>
                <a:gd name="connsiteX22" fmla="*/ 698431 w 1228017"/>
                <a:gd name="connsiteY22" fmla="*/ 1041835 h 1141935"/>
                <a:gd name="connsiteX23" fmla="*/ 736598 w 1228017"/>
                <a:gd name="connsiteY23" fmla="*/ 1004055 h 1141935"/>
                <a:gd name="connsiteX24" fmla="*/ 698431 w 1228017"/>
                <a:gd name="connsiteY24" fmla="*/ 1041835 h 1141935"/>
                <a:gd name="connsiteX25" fmla="*/ 595405 w 1228017"/>
                <a:gd name="connsiteY25" fmla="*/ 937997 h 1141935"/>
                <a:gd name="connsiteX26" fmla="*/ 605535 w 1228017"/>
                <a:gd name="connsiteY26" fmla="*/ 916828 h 1141935"/>
                <a:gd name="connsiteX27" fmla="*/ 595405 w 1228017"/>
                <a:gd name="connsiteY27" fmla="*/ 937997 h 1141935"/>
                <a:gd name="connsiteX28" fmla="*/ 538272 w 1228017"/>
                <a:gd name="connsiteY28" fmla="*/ 638870 h 1141935"/>
                <a:gd name="connsiteX29" fmla="*/ 554706 w 1228017"/>
                <a:gd name="connsiteY29" fmla="*/ 607966 h 1141935"/>
                <a:gd name="connsiteX30" fmla="*/ 538272 w 1228017"/>
                <a:gd name="connsiteY30" fmla="*/ 638870 h 1141935"/>
                <a:gd name="connsiteX31" fmla="*/ 366019 w 1228017"/>
                <a:gd name="connsiteY31" fmla="*/ 1057390 h 1141935"/>
                <a:gd name="connsiteX32" fmla="*/ 388371 w 1228017"/>
                <a:gd name="connsiteY32" fmla="*/ 995659 h 1141935"/>
                <a:gd name="connsiteX33" fmla="*/ 366019 w 1228017"/>
                <a:gd name="connsiteY33" fmla="*/ 1057390 h 1141935"/>
                <a:gd name="connsiteX34" fmla="*/ 545688 w 1228017"/>
                <a:gd name="connsiteY34" fmla="*/ 422541 h 1141935"/>
                <a:gd name="connsiteX35" fmla="*/ 532458 w 1228017"/>
                <a:gd name="connsiteY35" fmla="*/ 448578 h 1141935"/>
                <a:gd name="connsiteX36" fmla="*/ 545688 w 1228017"/>
                <a:gd name="connsiteY36" fmla="*/ 422541 h 1141935"/>
                <a:gd name="connsiteX37" fmla="*/ 667965 w 1228017"/>
                <a:gd name="connsiteY37" fmla="*/ 286459 h 1141935"/>
                <a:gd name="connsiteX38" fmla="*/ 671480 w 1228017"/>
                <a:gd name="connsiteY38" fmla="*/ 302530 h 1141935"/>
                <a:gd name="connsiteX39" fmla="*/ 649050 w 1228017"/>
                <a:gd name="connsiteY39" fmla="*/ 315844 h 1141935"/>
                <a:gd name="connsiteX40" fmla="*/ 667965 w 1228017"/>
                <a:gd name="connsiteY40" fmla="*/ 286459 h 1141935"/>
                <a:gd name="connsiteX41" fmla="*/ 798486 w 1228017"/>
                <a:gd name="connsiteY41" fmla="*/ 977992 h 1141935"/>
                <a:gd name="connsiteX42" fmla="*/ 986449 w 1228017"/>
                <a:gd name="connsiteY42" fmla="*/ 718036 h 1141935"/>
                <a:gd name="connsiteX43" fmla="*/ 943890 w 1228017"/>
                <a:gd name="connsiteY43" fmla="*/ 601064 h 1141935"/>
                <a:gd name="connsiteX44" fmla="*/ 1008827 w 1228017"/>
                <a:gd name="connsiteY44" fmla="*/ 473224 h 1141935"/>
                <a:gd name="connsiteX45" fmla="*/ 1035495 w 1228017"/>
                <a:gd name="connsiteY45" fmla="*/ 469567 h 1141935"/>
                <a:gd name="connsiteX46" fmla="*/ 1228006 w 1228017"/>
                <a:gd name="connsiteY46" fmla="*/ 143476 h 1141935"/>
                <a:gd name="connsiteX47" fmla="*/ 1181700 w 1228017"/>
                <a:gd name="connsiteY47" fmla="*/ -100 h 1141935"/>
                <a:gd name="connsiteX48" fmla="*/ 1067950 w 1228017"/>
                <a:gd name="connsiteY48" fmla="*/ 203585 h 1141935"/>
                <a:gd name="connsiteX49" fmla="*/ 1105419 w 1228017"/>
                <a:gd name="connsiteY49" fmla="*/ 307011 h 1141935"/>
                <a:gd name="connsiteX50" fmla="*/ 1064126 w 1228017"/>
                <a:gd name="connsiteY50" fmla="*/ 214916 h 1141935"/>
                <a:gd name="connsiteX51" fmla="*/ 1027200 w 1228017"/>
                <a:gd name="connsiteY51" fmla="*/ 277703 h 1141935"/>
                <a:gd name="connsiteX52" fmla="*/ 1066219 w 1228017"/>
                <a:gd name="connsiteY52" fmla="*/ 378683 h 1141935"/>
                <a:gd name="connsiteX53" fmla="*/ 1020921 w 1228017"/>
                <a:gd name="connsiteY53" fmla="*/ 287490 h 1141935"/>
                <a:gd name="connsiteX54" fmla="*/ 1018957 w 1228017"/>
                <a:gd name="connsiteY54" fmla="*/ 317364 h 1141935"/>
                <a:gd name="connsiteX55" fmla="*/ 1008336 w 1228017"/>
                <a:gd name="connsiteY55" fmla="*/ 307088 h 1141935"/>
                <a:gd name="connsiteX56" fmla="*/ 1038751 w 1228017"/>
                <a:gd name="connsiteY56" fmla="*/ 426739 h 1141935"/>
                <a:gd name="connsiteX57" fmla="*/ 992548 w 1228017"/>
                <a:gd name="connsiteY57" fmla="*/ 331580 h 1141935"/>
                <a:gd name="connsiteX58" fmla="*/ 928799 w 1228017"/>
                <a:gd name="connsiteY58" fmla="*/ 435933 h 1141935"/>
                <a:gd name="connsiteX59" fmla="*/ 930918 w 1228017"/>
                <a:gd name="connsiteY59" fmla="*/ 464931 h 1141935"/>
                <a:gd name="connsiteX60" fmla="*/ 912029 w 1228017"/>
                <a:gd name="connsiteY60" fmla="*/ 445925 h 1141935"/>
                <a:gd name="connsiteX61" fmla="*/ 847092 w 1228017"/>
                <a:gd name="connsiteY61" fmla="*/ 525349 h 1141935"/>
                <a:gd name="connsiteX62" fmla="*/ 800682 w 1228017"/>
                <a:gd name="connsiteY62" fmla="*/ 554399 h 1141935"/>
                <a:gd name="connsiteX63" fmla="*/ 549978 w 1228017"/>
                <a:gd name="connsiteY63" fmla="*/ 933207 h 1141935"/>
                <a:gd name="connsiteX64" fmla="*/ 542665 w 1228017"/>
                <a:gd name="connsiteY64" fmla="*/ 928468 h 1141935"/>
                <a:gd name="connsiteX65" fmla="*/ 831122 w 1228017"/>
                <a:gd name="connsiteY65" fmla="*/ 490968 h 1141935"/>
                <a:gd name="connsiteX66" fmla="*/ 729543 w 1228017"/>
                <a:gd name="connsiteY66" fmla="*/ 287850 h 1141935"/>
                <a:gd name="connsiteX67" fmla="*/ 378448 w 1228017"/>
                <a:gd name="connsiteY67" fmla="*/ 844203 h 1141935"/>
                <a:gd name="connsiteX68" fmla="*/ 299299 w 1228017"/>
                <a:gd name="connsiteY68" fmla="*/ 810903 h 1141935"/>
                <a:gd name="connsiteX69" fmla="*/ 709698 w 1228017"/>
                <a:gd name="connsiteY69" fmla="*/ 264801 h 1141935"/>
                <a:gd name="connsiteX70" fmla="*/ 610496 w 1228017"/>
                <a:gd name="connsiteY70" fmla="*/ 149554 h 1141935"/>
                <a:gd name="connsiteX71" fmla="*/ 128519 w 1228017"/>
                <a:gd name="connsiteY71" fmla="*/ 763929 h 1141935"/>
                <a:gd name="connsiteX72" fmla="*/ -11 w 1228017"/>
                <a:gd name="connsiteY72" fmla="*/ 775081 h 1141935"/>
                <a:gd name="connsiteX73" fmla="*/ 121491 w 1228017"/>
                <a:gd name="connsiteY73" fmla="*/ 780231 h 1141935"/>
                <a:gd name="connsiteX74" fmla="*/ 112421 w 1228017"/>
                <a:gd name="connsiteY74" fmla="*/ 815823 h 1141935"/>
                <a:gd name="connsiteX75" fmla="*/ 29989 w 1228017"/>
                <a:gd name="connsiteY75" fmla="*/ 960068 h 1141935"/>
                <a:gd name="connsiteX76" fmla="*/ 77174 w 1228017"/>
                <a:gd name="connsiteY76" fmla="*/ 972970 h 1141935"/>
                <a:gd name="connsiteX77" fmla="*/ 209736 w 1228017"/>
                <a:gd name="connsiteY77" fmla="*/ 874618 h 1141935"/>
                <a:gd name="connsiteX78" fmla="*/ 229400 w 1228017"/>
                <a:gd name="connsiteY78" fmla="*/ 887211 h 1141935"/>
                <a:gd name="connsiteX79" fmla="*/ 288265 w 1228017"/>
                <a:gd name="connsiteY79" fmla="*/ 828055 h 1141935"/>
                <a:gd name="connsiteX80" fmla="*/ 372996 w 1228017"/>
                <a:gd name="connsiteY80" fmla="*/ 858032 h 1141935"/>
                <a:gd name="connsiteX81" fmla="*/ 329455 w 1228017"/>
                <a:gd name="connsiteY81" fmla="*/ 958008 h 1141935"/>
                <a:gd name="connsiteX82" fmla="*/ 347517 w 1228017"/>
                <a:gd name="connsiteY82" fmla="*/ 973022 h 1141935"/>
                <a:gd name="connsiteX83" fmla="*/ 317594 w 1228017"/>
                <a:gd name="connsiteY83" fmla="*/ 1067898 h 1141935"/>
                <a:gd name="connsiteX84" fmla="*/ 97071 w 1228017"/>
                <a:gd name="connsiteY84" fmla="*/ 1044385 h 1141935"/>
                <a:gd name="connsiteX85" fmla="*/ 270022 w 1228017"/>
                <a:gd name="connsiteY85" fmla="*/ 1071992 h 1141935"/>
                <a:gd name="connsiteX86" fmla="*/ 319791 w 1228017"/>
                <a:gd name="connsiteY86" fmla="*/ 1096948 h 1141935"/>
                <a:gd name="connsiteX87" fmla="*/ 240719 w 1228017"/>
                <a:gd name="connsiteY87" fmla="*/ 1112091 h 1141935"/>
                <a:gd name="connsiteX88" fmla="*/ 335993 w 1228017"/>
                <a:gd name="connsiteY88" fmla="*/ 1141836 h 1141935"/>
                <a:gd name="connsiteX89" fmla="*/ 454885 w 1228017"/>
                <a:gd name="connsiteY89" fmla="*/ 1134908 h 1141935"/>
                <a:gd name="connsiteX90" fmla="*/ 427132 w 1228017"/>
                <a:gd name="connsiteY90" fmla="*/ 1124092 h 1141935"/>
                <a:gd name="connsiteX91" fmla="*/ 567032 w 1228017"/>
                <a:gd name="connsiteY91" fmla="*/ 1116752 h 1141935"/>
                <a:gd name="connsiteX92" fmla="*/ 408682 w 1228017"/>
                <a:gd name="connsiteY92" fmla="*/ 1088140 h 1141935"/>
                <a:gd name="connsiteX93" fmla="*/ 437520 w 1228017"/>
                <a:gd name="connsiteY93" fmla="*/ 1027078 h 1141935"/>
                <a:gd name="connsiteX94" fmla="*/ 456978 w 1228017"/>
                <a:gd name="connsiteY94" fmla="*/ 1029190 h 1141935"/>
                <a:gd name="connsiteX95" fmla="*/ 537910 w 1228017"/>
                <a:gd name="connsiteY95" fmla="*/ 935885 h 1141935"/>
                <a:gd name="connsiteX96" fmla="*/ 577730 w 1228017"/>
                <a:gd name="connsiteY96" fmla="*/ 992363 h 1141935"/>
                <a:gd name="connsiteX97" fmla="*/ 621659 w 1228017"/>
                <a:gd name="connsiteY97" fmla="*/ 1048042 h 1141935"/>
                <a:gd name="connsiteX98" fmla="*/ 798486 w 1228017"/>
                <a:gd name="connsiteY98" fmla="*/ 977992 h 11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28017" h="1141935">
                  <a:moveTo>
                    <a:pt x="629954" y="970395"/>
                  </a:moveTo>
                  <a:cubicBezTo>
                    <a:pt x="714504" y="843559"/>
                    <a:pt x="790630" y="711057"/>
                    <a:pt x="870090" y="591870"/>
                  </a:cubicBezTo>
                  <a:cubicBezTo>
                    <a:pt x="877919" y="576238"/>
                    <a:pt x="894793" y="601682"/>
                    <a:pt x="906783" y="604953"/>
                  </a:cubicBezTo>
                  <a:cubicBezTo>
                    <a:pt x="810605" y="708945"/>
                    <a:pt x="734530" y="904646"/>
                    <a:pt x="629954" y="970395"/>
                  </a:cubicBezTo>
                  <a:close/>
                  <a:moveTo>
                    <a:pt x="649877" y="858728"/>
                  </a:moveTo>
                  <a:cubicBezTo>
                    <a:pt x="657293" y="857955"/>
                    <a:pt x="637499" y="881030"/>
                    <a:pt x="633391" y="889761"/>
                  </a:cubicBezTo>
                  <a:cubicBezTo>
                    <a:pt x="625923" y="890534"/>
                    <a:pt x="645743" y="867484"/>
                    <a:pt x="649877" y="858728"/>
                  </a:cubicBezTo>
                  <a:close/>
                  <a:moveTo>
                    <a:pt x="725435" y="741292"/>
                  </a:moveTo>
                  <a:cubicBezTo>
                    <a:pt x="731766" y="742734"/>
                    <a:pt x="709672" y="768513"/>
                    <a:pt x="704297" y="779510"/>
                  </a:cubicBezTo>
                  <a:cubicBezTo>
                    <a:pt x="697966" y="777991"/>
                    <a:pt x="720060" y="752314"/>
                    <a:pt x="725435" y="741292"/>
                  </a:cubicBezTo>
                  <a:close/>
                  <a:moveTo>
                    <a:pt x="774092" y="654889"/>
                  </a:moveTo>
                  <a:cubicBezTo>
                    <a:pt x="789364" y="628620"/>
                    <a:pt x="814352" y="591201"/>
                    <a:pt x="834817" y="565911"/>
                  </a:cubicBezTo>
                  <a:cubicBezTo>
                    <a:pt x="817479" y="593492"/>
                    <a:pt x="767038" y="679381"/>
                    <a:pt x="749105" y="704516"/>
                  </a:cubicBezTo>
                  <a:cubicBezTo>
                    <a:pt x="714814" y="752572"/>
                    <a:pt x="767296" y="666478"/>
                    <a:pt x="774092" y="654889"/>
                  </a:cubicBezTo>
                  <a:close/>
                  <a:moveTo>
                    <a:pt x="897636" y="505853"/>
                  </a:moveTo>
                  <a:cubicBezTo>
                    <a:pt x="915130" y="517829"/>
                    <a:pt x="931952" y="527306"/>
                    <a:pt x="945777" y="522799"/>
                  </a:cubicBezTo>
                  <a:cubicBezTo>
                    <a:pt x="951332" y="536964"/>
                    <a:pt x="926525" y="557824"/>
                    <a:pt x="919187" y="574898"/>
                  </a:cubicBezTo>
                  <a:cubicBezTo>
                    <a:pt x="900995" y="563387"/>
                    <a:pt x="887765" y="550793"/>
                    <a:pt x="873216" y="538560"/>
                  </a:cubicBezTo>
                  <a:cubicBezTo>
                    <a:pt x="880659" y="524267"/>
                    <a:pt x="889470" y="516387"/>
                    <a:pt x="897636" y="505853"/>
                  </a:cubicBezTo>
                  <a:close/>
                  <a:moveTo>
                    <a:pt x="904638" y="759088"/>
                  </a:moveTo>
                  <a:cubicBezTo>
                    <a:pt x="903527" y="748786"/>
                    <a:pt x="912804" y="732252"/>
                    <a:pt x="922675" y="725660"/>
                  </a:cubicBezTo>
                  <a:cubicBezTo>
                    <a:pt x="924587" y="735060"/>
                    <a:pt x="909367" y="748168"/>
                    <a:pt x="904638" y="759088"/>
                  </a:cubicBezTo>
                  <a:close/>
                  <a:moveTo>
                    <a:pt x="698431" y="1041835"/>
                  </a:moveTo>
                  <a:cubicBezTo>
                    <a:pt x="703083" y="1030555"/>
                    <a:pt x="725822" y="1019069"/>
                    <a:pt x="736598" y="1004055"/>
                  </a:cubicBezTo>
                  <a:cubicBezTo>
                    <a:pt x="733962" y="1024374"/>
                    <a:pt x="710628" y="1033182"/>
                    <a:pt x="698431" y="1041835"/>
                  </a:cubicBezTo>
                  <a:close/>
                  <a:moveTo>
                    <a:pt x="595405" y="937997"/>
                  </a:moveTo>
                  <a:cubicBezTo>
                    <a:pt x="586826" y="941809"/>
                    <a:pt x="602770" y="922468"/>
                    <a:pt x="605535" y="916828"/>
                  </a:cubicBezTo>
                  <a:cubicBezTo>
                    <a:pt x="614062" y="913068"/>
                    <a:pt x="598093" y="932306"/>
                    <a:pt x="595405" y="937997"/>
                  </a:cubicBezTo>
                  <a:close/>
                  <a:moveTo>
                    <a:pt x="538272" y="638870"/>
                  </a:moveTo>
                  <a:cubicBezTo>
                    <a:pt x="535791" y="630294"/>
                    <a:pt x="550469" y="617959"/>
                    <a:pt x="554706" y="607966"/>
                  </a:cubicBezTo>
                  <a:cubicBezTo>
                    <a:pt x="557885" y="607425"/>
                    <a:pt x="546980" y="636501"/>
                    <a:pt x="538272" y="638870"/>
                  </a:cubicBezTo>
                  <a:close/>
                  <a:moveTo>
                    <a:pt x="366019" y="1057390"/>
                  </a:moveTo>
                  <a:cubicBezTo>
                    <a:pt x="364882" y="1038668"/>
                    <a:pt x="377286" y="1017086"/>
                    <a:pt x="388371" y="995659"/>
                  </a:cubicBezTo>
                  <a:cubicBezTo>
                    <a:pt x="385865" y="1015257"/>
                    <a:pt x="378423" y="1035757"/>
                    <a:pt x="366019" y="1057390"/>
                  </a:cubicBezTo>
                  <a:close/>
                  <a:moveTo>
                    <a:pt x="545688" y="422541"/>
                  </a:moveTo>
                  <a:cubicBezTo>
                    <a:pt x="549228" y="429546"/>
                    <a:pt x="535714" y="440182"/>
                    <a:pt x="532458" y="448578"/>
                  </a:cubicBezTo>
                  <a:cubicBezTo>
                    <a:pt x="521941" y="440105"/>
                    <a:pt x="542355" y="429546"/>
                    <a:pt x="545688" y="422541"/>
                  </a:cubicBezTo>
                  <a:close/>
                  <a:moveTo>
                    <a:pt x="667965" y="286459"/>
                  </a:moveTo>
                  <a:cubicBezTo>
                    <a:pt x="673237" y="290940"/>
                    <a:pt x="668637" y="297585"/>
                    <a:pt x="671480" y="302530"/>
                  </a:cubicBezTo>
                  <a:cubicBezTo>
                    <a:pt x="664968" y="311569"/>
                    <a:pt x="655149" y="305208"/>
                    <a:pt x="649050" y="315844"/>
                  </a:cubicBezTo>
                  <a:cubicBezTo>
                    <a:pt x="646466" y="303405"/>
                    <a:pt x="663392" y="298306"/>
                    <a:pt x="667965" y="286459"/>
                  </a:cubicBezTo>
                  <a:close/>
                  <a:moveTo>
                    <a:pt x="798486" y="977992"/>
                  </a:moveTo>
                  <a:cubicBezTo>
                    <a:pt x="849624" y="910441"/>
                    <a:pt x="950867" y="792232"/>
                    <a:pt x="986449" y="718036"/>
                  </a:cubicBezTo>
                  <a:cubicBezTo>
                    <a:pt x="1010094" y="668719"/>
                    <a:pt x="968878" y="634106"/>
                    <a:pt x="943890" y="601064"/>
                  </a:cubicBezTo>
                  <a:cubicBezTo>
                    <a:pt x="974485" y="556923"/>
                    <a:pt x="976217" y="511133"/>
                    <a:pt x="1008827" y="473224"/>
                  </a:cubicBezTo>
                  <a:cubicBezTo>
                    <a:pt x="1016967" y="468434"/>
                    <a:pt x="1028750" y="480589"/>
                    <a:pt x="1035495" y="469567"/>
                  </a:cubicBezTo>
                  <a:cubicBezTo>
                    <a:pt x="1115419" y="365858"/>
                    <a:pt x="1156325" y="252439"/>
                    <a:pt x="1228006" y="143476"/>
                  </a:cubicBezTo>
                  <a:cubicBezTo>
                    <a:pt x="1214208" y="95266"/>
                    <a:pt x="1201804" y="46720"/>
                    <a:pt x="1181700" y="-100"/>
                  </a:cubicBezTo>
                  <a:cubicBezTo>
                    <a:pt x="1143766" y="67761"/>
                    <a:pt x="1105626" y="135724"/>
                    <a:pt x="1067950" y="203585"/>
                  </a:cubicBezTo>
                  <a:cubicBezTo>
                    <a:pt x="1080018" y="238172"/>
                    <a:pt x="1101207" y="270698"/>
                    <a:pt x="1105419" y="307011"/>
                  </a:cubicBezTo>
                  <a:cubicBezTo>
                    <a:pt x="1087434" y="277266"/>
                    <a:pt x="1081930" y="244713"/>
                    <a:pt x="1064126" y="214916"/>
                  </a:cubicBezTo>
                  <a:cubicBezTo>
                    <a:pt x="1049268" y="236343"/>
                    <a:pt x="1043893" y="255813"/>
                    <a:pt x="1027200" y="277703"/>
                  </a:cubicBezTo>
                  <a:cubicBezTo>
                    <a:pt x="1039526" y="311492"/>
                    <a:pt x="1069682" y="341392"/>
                    <a:pt x="1066219" y="378683"/>
                  </a:cubicBezTo>
                  <a:cubicBezTo>
                    <a:pt x="1049965" y="348525"/>
                    <a:pt x="1040895" y="316823"/>
                    <a:pt x="1020921" y="287490"/>
                  </a:cubicBezTo>
                  <a:cubicBezTo>
                    <a:pt x="1003039" y="299851"/>
                    <a:pt x="1028311" y="313835"/>
                    <a:pt x="1018957" y="317364"/>
                  </a:cubicBezTo>
                  <a:cubicBezTo>
                    <a:pt x="1018052" y="314067"/>
                    <a:pt x="1013091" y="296426"/>
                    <a:pt x="1008336" y="307088"/>
                  </a:cubicBezTo>
                  <a:cubicBezTo>
                    <a:pt x="993013" y="352517"/>
                    <a:pt x="1048182" y="382623"/>
                    <a:pt x="1038751" y="426739"/>
                  </a:cubicBezTo>
                  <a:cubicBezTo>
                    <a:pt x="1019319" y="395912"/>
                    <a:pt x="1013324" y="362123"/>
                    <a:pt x="992548" y="331580"/>
                  </a:cubicBezTo>
                  <a:cubicBezTo>
                    <a:pt x="967793" y="367119"/>
                    <a:pt x="954511" y="400213"/>
                    <a:pt x="928799" y="435933"/>
                  </a:cubicBezTo>
                  <a:cubicBezTo>
                    <a:pt x="924381" y="446260"/>
                    <a:pt x="943218" y="459677"/>
                    <a:pt x="930918" y="464931"/>
                  </a:cubicBezTo>
                  <a:cubicBezTo>
                    <a:pt x="923476" y="458956"/>
                    <a:pt x="926551" y="443813"/>
                    <a:pt x="912029" y="445925"/>
                  </a:cubicBezTo>
                  <a:cubicBezTo>
                    <a:pt x="887842" y="460965"/>
                    <a:pt x="867273" y="492281"/>
                    <a:pt x="847092" y="525349"/>
                  </a:cubicBezTo>
                  <a:cubicBezTo>
                    <a:pt x="828461" y="530165"/>
                    <a:pt x="813654" y="538869"/>
                    <a:pt x="800682" y="554399"/>
                  </a:cubicBezTo>
                  <a:cubicBezTo>
                    <a:pt x="709930" y="661997"/>
                    <a:pt x="651557" y="841885"/>
                    <a:pt x="549978" y="933207"/>
                  </a:cubicBezTo>
                  <a:cubicBezTo>
                    <a:pt x="547549" y="931636"/>
                    <a:pt x="545068" y="930039"/>
                    <a:pt x="542665" y="928468"/>
                  </a:cubicBezTo>
                  <a:cubicBezTo>
                    <a:pt x="628610" y="774797"/>
                    <a:pt x="738355" y="646184"/>
                    <a:pt x="831122" y="490968"/>
                  </a:cubicBezTo>
                  <a:cubicBezTo>
                    <a:pt x="795902" y="423545"/>
                    <a:pt x="765487" y="355067"/>
                    <a:pt x="729543" y="287850"/>
                  </a:cubicBezTo>
                  <a:cubicBezTo>
                    <a:pt x="609773" y="478503"/>
                    <a:pt x="482379" y="657954"/>
                    <a:pt x="378448" y="844203"/>
                  </a:cubicBezTo>
                  <a:cubicBezTo>
                    <a:pt x="351523" y="830631"/>
                    <a:pt x="326561" y="826201"/>
                    <a:pt x="299299" y="810903"/>
                  </a:cubicBezTo>
                  <a:cubicBezTo>
                    <a:pt x="440672" y="649738"/>
                    <a:pt x="568221" y="425657"/>
                    <a:pt x="709698" y="264801"/>
                  </a:cubicBezTo>
                  <a:cubicBezTo>
                    <a:pt x="721559" y="216564"/>
                    <a:pt x="648947" y="186768"/>
                    <a:pt x="610496" y="149554"/>
                  </a:cubicBezTo>
                  <a:cubicBezTo>
                    <a:pt x="449251" y="351616"/>
                    <a:pt x="291857" y="571602"/>
                    <a:pt x="128519" y="763929"/>
                  </a:cubicBezTo>
                  <a:cubicBezTo>
                    <a:pt x="85882" y="762229"/>
                    <a:pt x="26785" y="736888"/>
                    <a:pt x="-11" y="775081"/>
                  </a:cubicBezTo>
                  <a:cubicBezTo>
                    <a:pt x="39137" y="770677"/>
                    <a:pt x="79784" y="772994"/>
                    <a:pt x="121491" y="780231"/>
                  </a:cubicBezTo>
                  <a:cubicBezTo>
                    <a:pt x="106891" y="794550"/>
                    <a:pt x="114643" y="804105"/>
                    <a:pt x="112421" y="815823"/>
                  </a:cubicBezTo>
                  <a:cubicBezTo>
                    <a:pt x="79500" y="858702"/>
                    <a:pt x="35648" y="921927"/>
                    <a:pt x="29989" y="960068"/>
                  </a:cubicBezTo>
                  <a:cubicBezTo>
                    <a:pt x="51670" y="970858"/>
                    <a:pt x="58853" y="964832"/>
                    <a:pt x="77174" y="972970"/>
                  </a:cubicBezTo>
                  <a:cubicBezTo>
                    <a:pt x="122679" y="946109"/>
                    <a:pt x="169890" y="926923"/>
                    <a:pt x="209736" y="874618"/>
                  </a:cubicBezTo>
                  <a:cubicBezTo>
                    <a:pt x="216299" y="878790"/>
                    <a:pt x="222863" y="883013"/>
                    <a:pt x="229400" y="887211"/>
                  </a:cubicBezTo>
                  <a:cubicBezTo>
                    <a:pt x="249246" y="868540"/>
                    <a:pt x="268549" y="847113"/>
                    <a:pt x="288265" y="828055"/>
                  </a:cubicBezTo>
                  <a:cubicBezTo>
                    <a:pt x="316354" y="837198"/>
                    <a:pt x="343745" y="843533"/>
                    <a:pt x="372996" y="858032"/>
                  </a:cubicBezTo>
                  <a:cubicBezTo>
                    <a:pt x="351316" y="892877"/>
                    <a:pt x="341290" y="925326"/>
                    <a:pt x="329455" y="958008"/>
                  </a:cubicBezTo>
                  <a:cubicBezTo>
                    <a:pt x="334390" y="963287"/>
                    <a:pt x="349249" y="966403"/>
                    <a:pt x="347517" y="973022"/>
                  </a:cubicBezTo>
                  <a:cubicBezTo>
                    <a:pt x="335889" y="1005034"/>
                    <a:pt x="329713" y="1035835"/>
                    <a:pt x="317594" y="1067898"/>
                  </a:cubicBezTo>
                  <a:cubicBezTo>
                    <a:pt x="240538" y="1043664"/>
                    <a:pt x="165988" y="1031431"/>
                    <a:pt x="97071" y="1044385"/>
                  </a:cubicBezTo>
                  <a:cubicBezTo>
                    <a:pt x="152060" y="1057313"/>
                    <a:pt x="212888" y="1059116"/>
                    <a:pt x="270022" y="1071992"/>
                  </a:cubicBezTo>
                  <a:cubicBezTo>
                    <a:pt x="286405" y="1075727"/>
                    <a:pt x="315811" y="1075006"/>
                    <a:pt x="319791" y="1096948"/>
                  </a:cubicBezTo>
                  <a:cubicBezTo>
                    <a:pt x="294777" y="1101712"/>
                    <a:pt x="255732" y="1093935"/>
                    <a:pt x="240719" y="1112091"/>
                  </a:cubicBezTo>
                  <a:cubicBezTo>
                    <a:pt x="273019" y="1121079"/>
                    <a:pt x="311082" y="1109850"/>
                    <a:pt x="335993" y="1141836"/>
                  </a:cubicBezTo>
                  <a:cubicBezTo>
                    <a:pt x="368862" y="1115413"/>
                    <a:pt x="425995" y="1148043"/>
                    <a:pt x="454885" y="1134908"/>
                  </a:cubicBezTo>
                  <a:cubicBezTo>
                    <a:pt x="447468" y="1136840"/>
                    <a:pt x="425065" y="1138952"/>
                    <a:pt x="427132" y="1124092"/>
                  </a:cubicBezTo>
                  <a:cubicBezTo>
                    <a:pt x="472870" y="1117576"/>
                    <a:pt x="521036" y="1122109"/>
                    <a:pt x="567032" y="1116752"/>
                  </a:cubicBezTo>
                  <a:cubicBezTo>
                    <a:pt x="531993" y="1111421"/>
                    <a:pt x="462120" y="1113147"/>
                    <a:pt x="408682" y="1088140"/>
                  </a:cubicBezTo>
                  <a:cubicBezTo>
                    <a:pt x="423178" y="1066739"/>
                    <a:pt x="433101" y="1046316"/>
                    <a:pt x="437520" y="1027078"/>
                  </a:cubicBezTo>
                  <a:cubicBezTo>
                    <a:pt x="442869" y="1022623"/>
                    <a:pt x="453024" y="1040187"/>
                    <a:pt x="456978" y="1029190"/>
                  </a:cubicBezTo>
                  <a:cubicBezTo>
                    <a:pt x="485687" y="1006038"/>
                    <a:pt x="508969" y="958008"/>
                    <a:pt x="537910" y="935885"/>
                  </a:cubicBezTo>
                  <a:cubicBezTo>
                    <a:pt x="566386" y="947758"/>
                    <a:pt x="568454" y="976267"/>
                    <a:pt x="577730" y="992363"/>
                  </a:cubicBezTo>
                  <a:cubicBezTo>
                    <a:pt x="589049" y="1011910"/>
                    <a:pt x="602511" y="1032332"/>
                    <a:pt x="621659" y="1048042"/>
                  </a:cubicBezTo>
                  <a:cubicBezTo>
                    <a:pt x="706571" y="1117550"/>
                    <a:pt x="746650" y="1046316"/>
                    <a:pt x="798486" y="977992"/>
                  </a:cubicBezTo>
                  <a:close/>
                </a:path>
              </a:pathLst>
            </a:custGeom>
            <a:grpFill/>
            <a:ln w="25598" cap="flat">
              <a:noFill/>
              <a:prstDash val="solid"/>
              <a:round/>
            </a:ln>
          </p:spPr>
          <p:txBody>
            <a:bodyPr rtlCol="0" anchor="ctr"/>
            <a:lstStyle/>
            <a:p>
              <a:endParaRPr lang="en-LT"/>
            </a:p>
          </p:txBody>
        </p:sp>
        <p:sp>
          <p:nvSpPr>
            <p:cNvPr id="227" name="Freeform 226">
              <a:extLst>
                <a:ext uri="{FF2B5EF4-FFF2-40B4-BE49-F238E27FC236}">
                  <a16:creationId xmlns:a16="http://schemas.microsoft.com/office/drawing/2014/main" id="{8B9E1821-E16C-7C4D-BA32-8582EB92439C}"/>
                </a:ext>
              </a:extLst>
            </p:cNvPr>
            <p:cNvSpPr/>
            <p:nvPr/>
          </p:nvSpPr>
          <p:spPr>
            <a:xfrm rot="-1917689">
              <a:off x="5495934" y="2325758"/>
              <a:ext cx="395075" cy="751126"/>
            </a:xfrm>
            <a:custGeom>
              <a:avLst/>
              <a:gdLst>
                <a:gd name="connsiteX0" fmla="*/ 316309 w 395075"/>
                <a:gd name="connsiteY0" fmla="*/ 600109 h 751126"/>
                <a:gd name="connsiteX1" fmla="*/ 296722 w 395075"/>
                <a:gd name="connsiteY1" fmla="*/ 635983 h 751126"/>
                <a:gd name="connsiteX2" fmla="*/ 288350 w 395075"/>
                <a:gd name="connsiteY2" fmla="*/ 616797 h 751126"/>
                <a:gd name="connsiteX3" fmla="*/ 316309 w 395075"/>
                <a:gd name="connsiteY3" fmla="*/ 600109 h 751126"/>
                <a:gd name="connsiteX4" fmla="*/ 395045 w 395075"/>
                <a:gd name="connsiteY4" fmla="*/ 564054 h 751126"/>
                <a:gd name="connsiteX5" fmla="*/ 277032 w 395075"/>
                <a:gd name="connsiteY5" fmla="*/ 257175 h 751126"/>
                <a:gd name="connsiteX6" fmla="*/ 234317 w 395075"/>
                <a:gd name="connsiteY6" fmla="*/ 129618 h 751126"/>
                <a:gd name="connsiteX7" fmla="*/ 182585 w 395075"/>
                <a:gd name="connsiteY7" fmla="*/ -102 h 751126"/>
                <a:gd name="connsiteX8" fmla="*/ -30 w 395075"/>
                <a:gd name="connsiteY8" fmla="*/ 197530 h 751126"/>
                <a:gd name="connsiteX9" fmla="*/ 56871 w 395075"/>
                <a:gd name="connsiteY9" fmla="*/ 303016 h 751126"/>
                <a:gd name="connsiteX10" fmla="*/ 77646 w 395075"/>
                <a:gd name="connsiteY10" fmla="*/ 330135 h 751126"/>
                <a:gd name="connsiteX11" fmla="*/ 157623 w 395075"/>
                <a:gd name="connsiteY11" fmla="*/ 232709 h 751126"/>
                <a:gd name="connsiteX12" fmla="*/ 88680 w 395075"/>
                <a:gd name="connsiteY12" fmla="*/ 361348 h 751126"/>
                <a:gd name="connsiteX13" fmla="*/ 271347 w 395075"/>
                <a:gd name="connsiteY13" fmla="*/ 751024 h 751126"/>
                <a:gd name="connsiteX14" fmla="*/ 395045 w 395075"/>
                <a:gd name="connsiteY14" fmla="*/ 564054 h 75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075" h="751126">
                  <a:moveTo>
                    <a:pt x="316309" y="600109"/>
                  </a:moveTo>
                  <a:cubicBezTo>
                    <a:pt x="317756" y="610384"/>
                    <a:pt x="301994" y="624342"/>
                    <a:pt x="296722" y="635983"/>
                  </a:cubicBezTo>
                  <a:cubicBezTo>
                    <a:pt x="293492" y="629699"/>
                    <a:pt x="291554" y="623081"/>
                    <a:pt x="288350" y="616797"/>
                  </a:cubicBezTo>
                  <a:cubicBezTo>
                    <a:pt x="296774" y="607294"/>
                    <a:pt x="307420" y="607783"/>
                    <a:pt x="316309" y="600109"/>
                  </a:cubicBezTo>
                  <a:close/>
                  <a:moveTo>
                    <a:pt x="395045" y="564054"/>
                  </a:moveTo>
                  <a:cubicBezTo>
                    <a:pt x="350470" y="462894"/>
                    <a:pt x="333829" y="355656"/>
                    <a:pt x="277032" y="257175"/>
                  </a:cubicBezTo>
                  <a:cubicBezTo>
                    <a:pt x="274319" y="212004"/>
                    <a:pt x="250054" y="172008"/>
                    <a:pt x="234317" y="129618"/>
                  </a:cubicBezTo>
                  <a:cubicBezTo>
                    <a:pt x="218296" y="86713"/>
                    <a:pt x="202559" y="38322"/>
                    <a:pt x="182585" y="-102"/>
                  </a:cubicBezTo>
                  <a:cubicBezTo>
                    <a:pt x="114495" y="32888"/>
                    <a:pt x="57026" y="114295"/>
                    <a:pt x="-30" y="197530"/>
                  </a:cubicBezTo>
                  <a:cubicBezTo>
                    <a:pt x="24467" y="228280"/>
                    <a:pt x="40669" y="270953"/>
                    <a:pt x="56871" y="303016"/>
                  </a:cubicBezTo>
                  <a:cubicBezTo>
                    <a:pt x="62375" y="313807"/>
                    <a:pt x="69016" y="328100"/>
                    <a:pt x="77646" y="330135"/>
                  </a:cubicBezTo>
                  <a:cubicBezTo>
                    <a:pt x="103900" y="295908"/>
                    <a:pt x="127441" y="249346"/>
                    <a:pt x="157623" y="232709"/>
                  </a:cubicBezTo>
                  <a:cubicBezTo>
                    <a:pt x="159380" y="270206"/>
                    <a:pt x="111368" y="318520"/>
                    <a:pt x="88680" y="361348"/>
                  </a:cubicBezTo>
                  <a:cubicBezTo>
                    <a:pt x="152868" y="490450"/>
                    <a:pt x="216022" y="619861"/>
                    <a:pt x="271347" y="751024"/>
                  </a:cubicBezTo>
                  <a:cubicBezTo>
                    <a:pt x="310831" y="676416"/>
                    <a:pt x="366827" y="634824"/>
                    <a:pt x="395045" y="564054"/>
                  </a:cubicBezTo>
                  <a:close/>
                </a:path>
              </a:pathLst>
            </a:custGeom>
            <a:grpFill/>
            <a:ln w="25598" cap="flat">
              <a:noFill/>
              <a:prstDash val="solid"/>
              <a:round/>
            </a:ln>
          </p:spPr>
          <p:txBody>
            <a:bodyPr rtlCol="0" anchor="ctr"/>
            <a:lstStyle/>
            <a:p>
              <a:endParaRPr lang="en-LT"/>
            </a:p>
          </p:txBody>
        </p:sp>
        <p:sp>
          <p:nvSpPr>
            <p:cNvPr id="228" name="Freeform 227">
              <a:extLst>
                <a:ext uri="{FF2B5EF4-FFF2-40B4-BE49-F238E27FC236}">
                  <a16:creationId xmlns:a16="http://schemas.microsoft.com/office/drawing/2014/main" id="{78039021-7245-3C4E-8730-F5497E36A04E}"/>
                </a:ext>
              </a:extLst>
            </p:cNvPr>
            <p:cNvSpPr/>
            <p:nvPr/>
          </p:nvSpPr>
          <p:spPr>
            <a:xfrm rot="-1917689">
              <a:off x="5665027" y="2786882"/>
              <a:ext cx="213111" cy="395419"/>
            </a:xfrm>
            <a:custGeom>
              <a:avLst/>
              <a:gdLst>
                <a:gd name="connsiteX0" fmla="*/ 210447 w 213111"/>
                <a:gd name="connsiteY0" fmla="*/ 391789 h 395419"/>
                <a:gd name="connsiteX1" fmla="*/ 197346 w 213111"/>
                <a:gd name="connsiteY1" fmla="*/ 341982 h 395419"/>
                <a:gd name="connsiteX2" fmla="*/ 18866 w 213111"/>
                <a:gd name="connsiteY2" fmla="*/ -102 h 395419"/>
                <a:gd name="connsiteX3" fmla="*/ -24 w 213111"/>
                <a:gd name="connsiteY3" fmla="*/ 29257 h 395419"/>
                <a:gd name="connsiteX4" fmla="*/ 128765 w 213111"/>
                <a:gd name="connsiteY4" fmla="*/ 260085 h 395419"/>
                <a:gd name="connsiteX5" fmla="*/ 130497 w 213111"/>
                <a:gd name="connsiteY5" fmla="*/ 270309 h 395419"/>
                <a:gd name="connsiteX6" fmla="*/ 204866 w 213111"/>
                <a:gd name="connsiteY6" fmla="*/ 395111 h 395419"/>
                <a:gd name="connsiteX7" fmla="*/ 210447 w 213111"/>
                <a:gd name="connsiteY7" fmla="*/ 391789 h 3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11" h="395419">
                  <a:moveTo>
                    <a:pt x="210447" y="391789"/>
                  </a:moveTo>
                  <a:cubicBezTo>
                    <a:pt x="219181" y="374405"/>
                    <a:pt x="204013" y="355785"/>
                    <a:pt x="197346" y="341982"/>
                  </a:cubicBezTo>
                  <a:cubicBezTo>
                    <a:pt x="141841" y="226220"/>
                    <a:pt x="82330" y="110999"/>
                    <a:pt x="18866" y="-102"/>
                  </a:cubicBezTo>
                  <a:cubicBezTo>
                    <a:pt x="12561" y="9684"/>
                    <a:pt x="6255" y="19496"/>
                    <a:pt x="-24" y="29257"/>
                  </a:cubicBezTo>
                  <a:cubicBezTo>
                    <a:pt x="44990" y="105745"/>
                    <a:pt x="77549" y="184937"/>
                    <a:pt x="128765" y="260085"/>
                  </a:cubicBezTo>
                  <a:cubicBezTo>
                    <a:pt x="128972" y="263099"/>
                    <a:pt x="129670" y="266627"/>
                    <a:pt x="130497" y="270309"/>
                  </a:cubicBezTo>
                  <a:cubicBezTo>
                    <a:pt x="159231" y="311051"/>
                    <a:pt x="177552" y="354060"/>
                    <a:pt x="204866" y="395111"/>
                  </a:cubicBezTo>
                  <a:cubicBezTo>
                    <a:pt x="207036" y="395755"/>
                    <a:pt x="209026" y="394956"/>
                    <a:pt x="210447" y="391789"/>
                  </a:cubicBezTo>
                  <a:close/>
                </a:path>
              </a:pathLst>
            </a:custGeom>
            <a:grpFill/>
            <a:ln w="25598" cap="flat">
              <a:noFill/>
              <a:prstDash val="solid"/>
              <a:round/>
            </a:ln>
          </p:spPr>
          <p:txBody>
            <a:bodyPr rtlCol="0" anchor="ctr"/>
            <a:lstStyle/>
            <a:p>
              <a:endParaRPr lang="en-LT"/>
            </a:p>
          </p:txBody>
        </p:sp>
        <p:sp>
          <p:nvSpPr>
            <p:cNvPr id="229" name="Freeform 228">
              <a:extLst>
                <a:ext uri="{FF2B5EF4-FFF2-40B4-BE49-F238E27FC236}">
                  <a16:creationId xmlns:a16="http://schemas.microsoft.com/office/drawing/2014/main" id="{22CCD244-2298-554F-836F-DB0BD7FA5AD5}"/>
                </a:ext>
              </a:extLst>
            </p:cNvPr>
            <p:cNvSpPr/>
            <p:nvPr/>
          </p:nvSpPr>
          <p:spPr>
            <a:xfrm rot="-1917689">
              <a:off x="5827547" y="3030662"/>
              <a:ext cx="2661" cy="4893"/>
            </a:xfrm>
            <a:custGeom>
              <a:avLst/>
              <a:gdLst>
                <a:gd name="connsiteX0" fmla="*/ 2639 w 2661"/>
                <a:gd name="connsiteY0" fmla="*/ 4790 h 4893"/>
                <a:gd name="connsiteX1" fmla="*/ 2432 w 2661"/>
                <a:gd name="connsiteY1" fmla="*/ 3657 h 4893"/>
                <a:gd name="connsiteX2" fmla="*/ -22 w 2661"/>
                <a:gd name="connsiteY2" fmla="*/ -103 h 4893"/>
                <a:gd name="connsiteX3" fmla="*/ 2639 w 2661"/>
                <a:gd name="connsiteY3" fmla="*/ 4790 h 4893"/>
              </a:gdLst>
              <a:ahLst/>
              <a:cxnLst>
                <a:cxn ang="0">
                  <a:pos x="connsiteX0" y="connsiteY0"/>
                </a:cxn>
                <a:cxn ang="0">
                  <a:pos x="connsiteX1" y="connsiteY1"/>
                </a:cxn>
                <a:cxn ang="0">
                  <a:pos x="connsiteX2" y="connsiteY2"/>
                </a:cxn>
                <a:cxn ang="0">
                  <a:pos x="connsiteX3" y="connsiteY3"/>
                </a:cxn>
              </a:cxnLst>
              <a:rect l="l" t="t" r="r" b="b"/>
              <a:pathLst>
                <a:path w="2661" h="4893">
                  <a:moveTo>
                    <a:pt x="2639" y="4790"/>
                  </a:moveTo>
                  <a:cubicBezTo>
                    <a:pt x="2536" y="4378"/>
                    <a:pt x="2536" y="4043"/>
                    <a:pt x="2432" y="3657"/>
                  </a:cubicBezTo>
                  <a:cubicBezTo>
                    <a:pt x="1554" y="2421"/>
                    <a:pt x="882" y="1133"/>
                    <a:pt x="-22" y="-103"/>
                  </a:cubicBezTo>
                  <a:cubicBezTo>
                    <a:pt x="856" y="1468"/>
                    <a:pt x="1735" y="3219"/>
                    <a:pt x="2639" y="4790"/>
                  </a:cubicBezTo>
                  <a:close/>
                </a:path>
              </a:pathLst>
            </a:custGeom>
            <a:grpFill/>
            <a:ln w="25598" cap="flat">
              <a:noFill/>
              <a:prstDash val="solid"/>
              <a:round/>
            </a:ln>
          </p:spPr>
          <p:txBody>
            <a:bodyPr rtlCol="0" anchor="ctr"/>
            <a:lstStyle/>
            <a:p>
              <a:endParaRPr lang="en-LT"/>
            </a:p>
          </p:txBody>
        </p:sp>
        <p:sp>
          <p:nvSpPr>
            <p:cNvPr id="230" name="Freeform 229">
              <a:extLst>
                <a:ext uri="{FF2B5EF4-FFF2-40B4-BE49-F238E27FC236}">
                  <a16:creationId xmlns:a16="http://schemas.microsoft.com/office/drawing/2014/main" id="{743C0128-300B-8349-88EB-4C1127A13ED4}"/>
                </a:ext>
              </a:extLst>
            </p:cNvPr>
            <p:cNvSpPr/>
            <p:nvPr/>
          </p:nvSpPr>
          <p:spPr>
            <a:xfrm rot="-1917689">
              <a:off x="5862100" y="3005744"/>
              <a:ext cx="69896" cy="135900"/>
            </a:xfrm>
            <a:custGeom>
              <a:avLst/>
              <a:gdLst>
                <a:gd name="connsiteX0" fmla="*/ 66286 w 69896"/>
                <a:gd name="connsiteY0" fmla="*/ 135797 h 135900"/>
                <a:gd name="connsiteX1" fmla="*/ 54218 w 69896"/>
                <a:gd name="connsiteY1" fmla="*/ 100515 h 135900"/>
                <a:gd name="connsiteX2" fmla="*/ -21 w 69896"/>
                <a:gd name="connsiteY2" fmla="*/ -104 h 135900"/>
                <a:gd name="connsiteX3" fmla="*/ 45536 w 69896"/>
                <a:gd name="connsiteY3" fmla="*/ 108755 h 135900"/>
                <a:gd name="connsiteX4" fmla="*/ 66286 w 69896"/>
                <a:gd name="connsiteY4" fmla="*/ 135797 h 13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96" h="135900">
                  <a:moveTo>
                    <a:pt x="66286" y="135797"/>
                  </a:moveTo>
                  <a:cubicBezTo>
                    <a:pt x="77371" y="122096"/>
                    <a:pt x="59748" y="110507"/>
                    <a:pt x="54218" y="100515"/>
                  </a:cubicBezTo>
                  <a:cubicBezTo>
                    <a:pt x="35432" y="66520"/>
                    <a:pt x="17809" y="31856"/>
                    <a:pt x="-21" y="-104"/>
                  </a:cubicBezTo>
                  <a:cubicBezTo>
                    <a:pt x="7162" y="30105"/>
                    <a:pt x="31943" y="79294"/>
                    <a:pt x="45536" y="108755"/>
                  </a:cubicBezTo>
                  <a:cubicBezTo>
                    <a:pt x="50523" y="119598"/>
                    <a:pt x="57267" y="134689"/>
                    <a:pt x="66286" y="135797"/>
                  </a:cubicBezTo>
                  <a:close/>
                </a:path>
              </a:pathLst>
            </a:custGeom>
            <a:grpFill/>
            <a:ln w="25598" cap="flat">
              <a:noFill/>
              <a:prstDash val="solid"/>
              <a:round/>
            </a:ln>
          </p:spPr>
          <p:txBody>
            <a:bodyPr rtlCol="0" anchor="ctr"/>
            <a:lstStyle/>
            <a:p>
              <a:endParaRPr lang="en-LT"/>
            </a:p>
          </p:txBody>
        </p:sp>
        <p:sp>
          <p:nvSpPr>
            <p:cNvPr id="231" name="Freeform 230">
              <a:hlinkClick r:id="rId13" action="ppaction://hlinksldjump"/>
              <a:extLst>
                <a:ext uri="{FF2B5EF4-FFF2-40B4-BE49-F238E27FC236}">
                  <a16:creationId xmlns:a16="http://schemas.microsoft.com/office/drawing/2014/main" id="{C6F20A8A-5961-D14A-A869-8E6219B9A6EA}"/>
                </a:ext>
              </a:extLst>
            </p:cNvPr>
            <p:cNvSpPr/>
            <p:nvPr/>
          </p:nvSpPr>
          <p:spPr>
            <a:xfrm rot="-1917689">
              <a:off x="5629209" y="2848440"/>
              <a:ext cx="260704" cy="419756"/>
            </a:xfrm>
            <a:custGeom>
              <a:avLst/>
              <a:gdLst>
                <a:gd name="connsiteX0" fmla="*/ 182722 w 260704"/>
                <a:gd name="connsiteY0" fmla="*/ 321302 h 419756"/>
                <a:gd name="connsiteX1" fmla="*/ 177218 w 260704"/>
                <a:gd name="connsiteY1" fmla="*/ 286663 h 419756"/>
                <a:gd name="connsiteX2" fmla="*/ 182722 w 260704"/>
                <a:gd name="connsiteY2" fmla="*/ 321302 h 419756"/>
                <a:gd name="connsiteX3" fmla="*/ 153884 w 260704"/>
                <a:gd name="connsiteY3" fmla="*/ 247595 h 419756"/>
                <a:gd name="connsiteX4" fmla="*/ 169672 w 260704"/>
                <a:gd name="connsiteY4" fmla="*/ 271495 h 419756"/>
                <a:gd name="connsiteX5" fmla="*/ 153884 w 260704"/>
                <a:gd name="connsiteY5" fmla="*/ 247595 h 419756"/>
                <a:gd name="connsiteX6" fmla="*/ 260682 w 260704"/>
                <a:gd name="connsiteY6" fmla="*/ 378037 h 419756"/>
                <a:gd name="connsiteX7" fmla="*/ 63675 w 260704"/>
                <a:gd name="connsiteY7" fmla="*/ -102 h 419756"/>
                <a:gd name="connsiteX8" fmla="*/ -22 w 260704"/>
                <a:gd name="connsiteY8" fmla="*/ 104277 h 419756"/>
                <a:gd name="connsiteX9" fmla="*/ 125563 w 260704"/>
                <a:gd name="connsiteY9" fmla="*/ 340050 h 419756"/>
                <a:gd name="connsiteX10" fmla="*/ 140705 w 260704"/>
                <a:gd name="connsiteY10" fmla="*/ 370440 h 419756"/>
                <a:gd name="connsiteX11" fmla="*/ 233912 w 260704"/>
                <a:gd name="connsiteY11" fmla="*/ 419655 h 419756"/>
                <a:gd name="connsiteX12" fmla="*/ 260682 w 260704"/>
                <a:gd name="connsiteY12" fmla="*/ 378037 h 41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704" h="419756">
                  <a:moveTo>
                    <a:pt x="182722" y="321302"/>
                  </a:moveTo>
                  <a:cubicBezTo>
                    <a:pt x="175383" y="311001"/>
                    <a:pt x="173652" y="299411"/>
                    <a:pt x="177218" y="286663"/>
                  </a:cubicBezTo>
                  <a:cubicBezTo>
                    <a:pt x="181094" y="297789"/>
                    <a:pt x="194686" y="306751"/>
                    <a:pt x="182722" y="321302"/>
                  </a:cubicBezTo>
                  <a:close/>
                  <a:moveTo>
                    <a:pt x="153884" y="247595"/>
                  </a:moveTo>
                  <a:cubicBezTo>
                    <a:pt x="164297" y="246127"/>
                    <a:pt x="164194" y="264953"/>
                    <a:pt x="169672" y="271495"/>
                  </a:cubicBezTo>
                  <a:cubicBezTo>
                    <a:pt x="157269" y="273323"/>
                    <a:pt x="159026" y="254291"/>
                    <a:pt x="153884" y="247595"/>
                  </a:cubicBezTo>
                  <a:close/>
                  <a:moveTo>
                    <a:pt x="260682" y="378037"/>
                  </a:moveTo>
                  <a:cubicBezTo>
                    <a:pt x="197838" y="251330"/>
                    <a:pt x="145330" y="122485"/>
                    <a:pt x="63675" y="-102"/>
                  </a:cubicBezTo>
                  <a:cubicBezTo>
                    <a:pt x="46284" y="33841"/>
                    <a:pt x="22717" y="69098"/>
                    <a:pt x="-22" y="104277"/>
                  </a:cubicBezTo>
                  <a:cubicBezTo>
                    <a:pt x="44242" y="179787"/>
                    <a:pt x="87448" y="263794"/>
                    <a:pt x="125563" y="340050"/>
                  </a:cubicBezTo>
                  <a:cubicBezTo>
                    <a:pt x="130912" y="350712"/>
                    <a:pt x="135718" y="365418"/>
                    <a:pt x="140705" y="370440"/>
                  </a:cubicBezTo>
                  <a:cubicBezTo>
                    <a:pt x="166158" y="396219"/>
                    <a:pt x="205694" y="393953"/>
                    <a:pt x="233912" y="419655"/>
                  </a:cubicBezTo>
                  <a:cubicBezTo>
                    <a:pt x="242801" y="405799"/>
                    <a:pt x="251742" y="391918"/>
                    <a:pt x="260682" y="378037"/>
                  </a:cubicBezTo>
                  <a:close/>
                </a:path>
              </a:pathLst>
            </a:custGeom>
            <a:grpFill/>
            <a:ln w="25598" cap="flat">
              <a:noFill/>
              <a:prstDash val="solid"/>
              <a:round/>
            </a:ln>
          </p:spPr>
          <p:txBody>
            <a:bodyPr rtlCol="0" anchor="ctr"/>
            <a:lstStyle/>
            <a:p>
              <a:endParaRPr lang="en-LT" dirty="0"/>
            </a:p>
          </p:txBody>
        </p:sp>
        <p:sp>
          <p:nvSpPr>
            <p:cNvPr id="232" name="Freeform 231">
              <a:extLst>
                <a:ext uri="{FF2B5EF4-FFF2-40B4-BE49-F238E27FC236}">
                  <a16:creationId xmlns:a16="http://schemas.microsoft.com/office/drawing/2014/main" id="{71807606-12E9-C14E-9634-0F531A00C6CC}"/>
                </a:ext>
              </a:extLst>
            </p:cNvPr>
            <p:cNvSpPr/>
            <p:nvPr/>
          </p:nvSpPr>
          <p:spPr>
            <a:xfrm rot="-1917689">
              <a:off x="5623603" y="3005208"/>
              <a:ext cx="154836" cy="239764"/>
            </a:xfrm>
            <a:custGeom>
              <a:avLst/>
              <a:gdLst>
                <a:gd name="connsiteX0" fmla="*/ -21 w 154836"/>
                <a:gd name="connsiteY0" fmla="*/ 43990 h 239764"/>
                <a:gd name="connsiteX1" fmla="*/ 154815 w 154836"/>
                <a:gd name="connsiteY1" fmla="*/ 239665 h 239764"/>
                <a:gd name="connsiteX2" fmla="*/ 28326 w 154836"/>
                <a:gd name="connsiteY2" fmla="*/ -100 h 239764"/>
                <a:gd name="connsiteX3" fmla="*/ -21 w 154836"/>
                <a:gd name="connsiteY3" fmla="*/ 43990 h 239764"/>
              </a:gdLst>
              <a:ahLst/>
              <a:cxnLst>
                <a:cxn ang="0">
                  <a:pos x="connsiteX0" y="connsiteY0"/>
                </a:cxn>
                <a:cxn ang="0">
                  <a:pos x="connsiteX1" y="connsiteY1"/>
                </a:cxn>
                <a:cxn ang="0">
                  <a:pos x="connsiteX2" y="connsiteY2"/>
                </a:cxn>
                <a:cxn ang="0">
                  <a:pos x="connsiteX3" y="connsiteY3"/>
                </a:cxn>
              </a:cxnLst>
              <a:rect l="l" t="t" r="r" b="b"/>
              <a:pathLst>
                <a:path w="154836" h="239764">
                  <a:moveTo>
                    <a:pt x="-21" y="43990"/>
                  </a:moveTo>
                  <a:cubicBezTo>
                    <a:pt x="40057" y="112855"/>
                    <a:pt x="49851" y="192665"/>
                    <a:pt x="154815" y="239665"/>
                  </a:cubicBezTo>
                  <a:cubicBezTo>
                    <a:pt x="118096" y="158542"/>
                    <a:pt x="74632" y="78938"/>
                    <a:pt x="28326" y="-100"/>
                  </a:cubicBezTo>
                  <a:cubicBezTo>
                    <a:pt x="18868" y="14605"/>
                    <a:pt x="9462" y="29285"/>
                    <a:pt x="-21" y="43990"/>
                  </a:cubicBezTo>
                  <a:close/>
                </a:path>
              </a:pathLst>
            </a:custGeom>
            <a:grpFill/>
            <a:ln w="25598" cap="flat">
              <a:noFill/>
              <a:prstDash val="solid"/>
              <a:round/>
            </a:ln>
          </p:spPr>
          <p:txBody>
            <a:bodyPr rtlCol="0" anchor="ctr"/>
            <a:lstStyle/>
            <a:p>
              <a:endParaRPr lang="en-LT"/>
            </a:p>
          </p:txBody>
        </p:sp>
        <p:sp>
          <p:nvSpPr>
            <p:cNvPr id="233" name="Freeform 232">
              <a:extLst>
                <a:ext uri="{FF2B5EF4-FFF2-40B4-BE49-F238E27FC236}">
                  <a16:creationId xmlns:a16="http://schemas.microsoft.com/office/drawing/2014/main" id="{D2D28B37-6B3B-0141-8494-904D1516A3D4}"/>
                </a:ext>
              </a:extLst>
            </p:cNvPr>
            <p:cNvSpPr/>
            <p:nvPr/>
          </p:nvSpPr>
          <p:spPr>
            <a:xfrm rot="-1917689">
              <a:off x="5725460" y="4230670"/>
              <a:ext cx="51655" cy="8881"/>
            </a:xfrm>
            <a:custGeom>
              <a:avLst/>
              <a:gdLst>
                <a:gd name="connsiteX0" fmla="*/ 2 w 51655"/>
                <a:gd name="connsiteY0" fmla="*/ 4876 h 8881"/>
                <a:gd name="connsiteX1" fmla="*/ 51657 w 51655"/>
                <a:gd name="connsiteY1" fmla="*/ -94 h 8881"/>
                <a:gd name="connsiteX2" fmla="*/ 2 w 51655"/>
                <a:gd name="connsiteY2" fmla="*/ 4876 h 8881"/>
              </a:gdLst>
              <a:ahLst/>
              <a:cxnLst>
                <a:cxn ang="0">
                  <a:pos x="connsiteX0" y="connsiteY0"/>
                </a:cxn>
                <a:cxn ang="0">
                  <a:pos x="connsiteX1" y="connsiteY1"/>
                </a:cxn>
                <a:cxn ang="0">
                  <a:pos x="connsiteX2" y="connsiteY2"/>
                </a:cxn>
              </a:cxnLst>
              <a:rect l="l" t="t" r="r" b="b"/>
              <a:pathLst>
                <a:path w="51655" h="8881">
                  <a:moveTo>
                    <a:pt x="2" y="4876"/>
                  </a:moveTo>
                  <a:cubicBezTo>
                    <a:pt x="16126" y="4515"/>
                    <a:pt x="46101" y="16645"/>
                    <a:pt x="51657" y="-94"/>
                  </a:cubicBezTo>
                  <a:cubicBezTo>
                    <a:pt x="36385" y="4206"/>
                    <a:pt x="7341" y="-3340"/>
                    <a:pt x="2" y="4876"/>
                  </a:cubicBezTo>
                  <a:close/>
                </a:path>
              </a:pathLst>
            </a:custGeom>
            <a:grpFill/>
            <a:ln w="25598" cap="flat">
              <a:noFill/>
              <a:prstDash val="solid"/>
              <a:round/>
            </a:ln>
          </p:spPr>
          <p:txBody>
            <a:bodyPr rtlCol="0" anchor="ctr"/>
            <a:lstStyle/>
            <a:p>
              <a:endParaRPr lang="en-LT"/>
            </a:p>
          </p:txBody>
        </p:sp>
        <p:sp>
          <p:nvSpPr>
            <p:cNvPr id="234" name="Freeform 233">
              <a:extLst>
                <a:ext uri="{FF2B5EF4-FFF2-40B4-BE49-F238E27FC236}">
                  <a16:creationId xmlns:a16="http://schemas.microsoft.com/office/drawing/2014/main" id="{BECA5845-58BC-0A4F-8F82-90ED078708CC}"/>
                </a:ext>
              </a:extLst>
            </p:cNvPr>
            <p:cNvSpPr/>
            <p:nvPr/>
          </p:nvSpPr>
          <p:spPr>
            <a:xfrm rot="-1917689">
              <a:off x="5519663" y="4263724"/>
              <a:ext cx="223546" cy="24702"/>
            </a:xfrm>
            <a:custGeom>
              <a:avLst/>
              <a:gdLst>
                <a:gd name="connsiteX0" fmla="*/ 223548 w 223546"/>
                <a:gd name="connsiteY0" fmla="*/ 19245 h 24702"/>
                <a:gd name="connsiteX1" fmla="*/ 2 w 223546"/>
                <a:gd name="connsiteY1" fmla="*/ 11082 h 24702"/>
                <a:gd name="connsiteX2" fmla="*/ 203393 w 223546"/>
                <a:gd name="connsiteY2" fmla="*/ 23598 h 24702"/>
                <a:gd name="connsiteX3" fmla="*/ 223548 w 223546"/>
                <a:gd name="connsiteY3" fmla="*/ 19245 h 24702"/>
              </a:gdLst>
              <a:ahLst/>
              <a:cxnLst>
                <a:cxn ang="0">
                  <a:pos x="connsiteX0" y="connsiteY0"/>
                </a:cxn>
                <a:cxn ang="0">
                  <a:pos x="connsiteX1" y="connsiteY1"/>
                </a:cxn>
                <a:cxn ang="0">
                  <a:pos x="connsiteX2" y="connsiteY2"/>
                </a:cxn>
                <a:cxn ang="0">
                  <a:pos x="connsiteX3" y="connsiteY3"/>
                </a:cxn>
              </a:cxnLst>
              <a:rect l="l" t="t" r="r" b="b"/>
              <a:pathLst>
                <a:path w="223546" h="24702">
                  <a:moveTo>
                    <a:pt x="223548" y="19245"/>
                  </a:moveTo>
                  <a:cubicBezTo>
                    <a:pt x="150755" y="18035"/>
                    <a:pt x="59203" y="-17685"/>
                    <a:pt x="2" y="11082"/>
                  </a:cubicBezTo>
                  <a:cubicBezTo>
                    <a:pt x="66748" y="22388"/>
                    <a:pt x="142693" y="26791"/>
                    <a:pt x="203393" y="23598"/>
                  </a:cubicBezTo>
                  <a:cubicBezTo>
                    <a:pt x="210163" y="23186"/>
                    <a:pt x="222282" y="26920"/>
                    <a:pt x="223548" y="19245"/>
                  </a:cubicBezTo>
                  <a:close/>
                </a:path>
              </a:pathLst>
            </a:custGeom>
            <a:grpFill/>
            <a:ln w="25598" cap="flat">
              <a:noFill/>
              <a:prstDash val="solid"/>
              <a:round/>
            </a:ln>
          </p:spPr>
          <p:txBody>
            <a:bodyPr rtlCol="0" anchor="ctr"/>
            <a:lstStyle/>
            <a:p>
              <a:endParaRPr lang="en-LT"/>
            </a:p>
          </p:txBody>
        </p:sp>
        <p:sp>
          <p:nvSpPr>
            <p:cNvPr id="235" name="Freeform 234">
              <a:extLst>
                <a:ext uri="{FF2B5EF4-FFF2-40B4-BE49-F238E27FC236}">
                  <a16:creationId xmlns:a16="http://schemas.microsoft.com/office/drawing/2014/main" id="{77498BC4-7054-5742-AB8E-DE5D3029DA03}"/>
                </a:ext>
              </a:extLst>
            </p:cNvPr>
            <p:cNvSpPr/>
            <p:nvPr/>
          </p:nvSpPr>
          <p:spPr>
            <a:xfrm rot="-1917689">
              <a:off x="5540538" y="4253345"/>
              <a:ext cx="63128" cy="11590"/>
            </a:xfrm>
            <a:custGeom>
              <a:avLst/>
              <a:gdLst>
                <a:gd name="connsiteX0" fmla="*/ 63130 w 63128"/>
                <a:gd name="connsiteY0" fmla="*/ 4794 h 11590"/>
                <a:gd name="connsiteX1" fmla="*/ 1 w 63128"/>
                <a:gd name="connsiteY1" fmla="*/ 5901 h 11590"/>
                <a:gd name="connsiteX2" fmla="*/ 63130 w 63128"/>
                <a:gd name="connsiteY2" fmla="*/ 4794 h 11590"/>
              </a:gdLst>
              <a:ahLst/>
              <a:cxnLst>
                <a:cxn ang="0">
                  <a:pos x="connsiteX0" y="connsiteY0"/>
                </a:cxn>
                <a:cxn ang="0">
                  <a:pos x="connsiteX1" y="connsiteY1"/>
                </a:cxn>
                <a:cxn ang="0">
                  <a:pos x="connsiteX2" y="connsiteY2"/>
                </a:cxn>
              </a:cxnLst>
              <a:rect l="l" t="t" r="r" b="b"/>
              <a:pathLst>
                <a:path w="63128" h="11590">
                  <a:moveTo>
                    <a:pt x="63130" y="4794"/>
                  </a:moveTo>
                  <a:cubicBezTo>
                    <a:pt x="43207" y="10434"/>
                    <a:pt x="17754" y="-9551"/>
                    <a:pt x="1" y="5901"/>
                  </a:cubicBezTo>
                  <a:cubicBezTo>
                    <a:pt x="21836" y="15610"/>
                    <a:pt x="51734" y="11000"/>
                    <a:pt x="63130" y="4794"/>
                  </a:cubicBezTo>
                  <a:close/>
                </a:path>
              </a:pathLst>
            </a:custGeom>
            <a:grpFill/>
            <a:ln w="25598" cap="flat">
              <a:noFill/>
              <a:prstDash val="solid"/>
              <a:round/>
            </a:ln>
          </p:spPr>
          <p:txBody>
            <a:bodyPr rtlCol="0" anchor="ctr"/>
            <a:lstStyle/>
            <a:p>
              <a:endParaRPr lang="en-LT"/>
            </a:p>
          </p:txBody>
        </p:sp>
        <p:sp>
          <p:nvSpPr>
            <p:cNvPr id="236" name="Freeform 235">
              <a:extLst>
                <a:ext uri="{FF2B5EF4-FFF2-40B4-BE49-F238E27FC236}">
                  <a16:creationId xmlns:a16="http://schemas.microsoft.com/office/drawing/2014/main" id="{32B87244-B586-1643-B3EB-0CFE92772FFF}"/>
                </a:ext>
              </a:extLst>
            </p:cNvPr>
            <p:cNvSpPr/>
            <p:nvPr/>
          </p:nvSpPr>
          <p:spPr>
            <a:xfrm rot="-1917689">
              <a:off x="5867773" y="2258160"/>
              <a:ext cx="238350" cy="486122"/>
            </a:xfrm>
            <a:custGeom>
              <a:avLst/>
              <a:gdLst>
                <a:gd name="connsiteX0" fmla="*/ 205296 w 238350"/>
                <a:gd name="connsiteY0" fmla="*/ 191265 h 486122"/>
                <a:gd name="connsiteX1" fmla="*/ 172091 w 238350"/>
                <a:gd name="connsiteY1" fmla="*/ 280603 h 486122"/>
                <a:gd name="connsiteX2" fmla="*/ 205296 w 238350"/>
                <a:gd name="connsiteY2" fmla="*/ 191265 h 486122"/>
                <a:gd name="connsiteX3" fmla="*/ 186355 w 238350"/>
                <a:gd name="connsiteY3" fmla="*/ 123842 h 486122"/>
                <a:gd name="connsiteX4" fmla="*/ 193539 w 238350"/>
                <a:gd name="connsiteY4" fmla="*/ 166516 h 486122"/>
                <a:gd name="connsiteX5" fmla="*/ 186355 w 238350"/>
                <a:gd name="connsiteY5" fmla="*/ 123842 h 486122"/>
                <a:gd name="connsiteX6" fmla="*/ 43612 w 238350"/>
                <a:gd name="connsiteY6" fmla="*/ 291755 h 486122"/>
                <a:gd name="connsiteX7" fmla="*/ 84802 w 238350"/>
                <a:gd name="connsiteY7" fmla="*/ 238600 h 486122"/>
                <a:gd name="connsiteX8" fmla="*/ 51571 w 238350"/>
                <a:gd name="connsiteY8" fmla="*/ 327964 h 486122"/>
                <a:gd name="connsiteX9" fmla="*/ 85319 w 238350"/>
                <a:gd name="connsiteY9" fmla="*/ 453152 h 486122"/>
                <a:gd name="connsiteX10" fmla="*/ 98885 w 238350"/>
                <a:gd name="connsiteY10" fmla="*/ 486013 h 486122"/>
                <a:gd name="connsiteX11" fmla="*/ 232455 w 238350"/>
                <a:gd name="connsiteY11" fmla="*/ 122245 h 486122"/>
                <a:gd name="connsiteX12" fmla="*/ 219069 w 238350"/>
                <a:gd name="connsiteY12" fmla="*/ 99891 h 486122"/>
                <a:gd name="connsiteX13" fmla="*/ 216253 w 238350"/>
                <a:gd name="connsiteY13" fmla="*/ 77357 h 486122"/>
                <a:gd name="connsiteX14" fmla="*/ 127439 w 238350"/>
                <a:gd name="connsiteY14" fmla="*/ -109 h 486122"/>
                <a:gd name="connsiteX15" fmla="*/ 83174 w 238350"/>
                <a:gd name="connsiteY15" fmla="*/ 57913 h 486122"/>
                <a:gd name="connsiteX16" fmla="*/ 113511 w 238350"/>
                <a:gd name="connsiteY16" fmla="*/ 80756 h 486122"/>
                <a:gd name="connsiteX17" fmla="*/ 78445 w 238350"/>
                <a:gd name="connsiteY17" fmla="*/ 65279 h 486122"/>
                <a:gd name="connsiteX18" fmla="*/ -32 w 238350"/>
                <a:gd name="connsiteY18" fmla="*/ 160206 h 486122"/>
                <a:gd name="connsiteX19" fmla="*/ 43612 w 238350"/>
                <a:gd name="connsiteY19" fmla="*/ 291755 h 48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350" h="486122">
                  <a:moveTo>
                    <a:pt x="205296" y="191265"/>
                  </a:moveTo>
                  <a:cubicBezTo>
                    <a:pt x="199456" y="219954"/>
                    <a:pt x="185683" y="250317"/>
                    <a:pt x="172091" y="280603"/>
                  </a:cubicBezTo>
                  <a:cubicBezTo>
                    <a:pt x="176122" y="252507"/>
                    <a:pt x="174572" y="212331"/>
                    <a:pt x="205296" y="191265"/>
                  </a:cubicBezTo>
                  <a:close/>
                  <a:moveTo>
                    <a:pt x="186355" y="123842"/>
                  </a:moveTo>
                  <a:cubicBezTo>
                    <a:pt x="198965" y="135895"/>
                    <a:pt x="198991" y="150548"/>
                    <a:pt x="193539" y="166516"/>
                  </a:cubicBezTo>
                  <a:cubicBezTo>
                    <a:pt x="190050" y="152532"/>
                    <a:pt x="183125" y="139294"/>
                    <a:pt x="186355" y="123842"/>
                  </a:cubicBezTo>
                  <a:close/>
                  <a:moveTo>
                    <a:pt x="43612" y="291755"/>
                  </a:moveTo>
                  <a:cubicBezTo>
                    <a:pt x="55499" y="276741"/>
                    <a:pt x="63923" y="235303"/>
                    <a:pt x="84802" y="238600"/>
                  </a:cubicBezTo>
                  <a:cubicBezTo>
                    <a:pt x="88936" y="265074"/>
                    <a:pt x="60176" y="298708"/>
                    <a:pt x="51571" y="327964"/>
                  </a:cubicBezTo>
                  <a:cubicBezTo>
                    <a:pt x="54491" y="368140"/>
                    <a:pt x="74388" y="415088"/>
                    <a:pt x="85319" y="453152"/>
                  </a:cubicBezTo>
                  <a:cubicBezTo>
                    <a:pt x="89040" y="465977"/>
                    <a:pt x="85939" y="484185"/>
                    <a:pt x="98885" y="486013"/>
                  </a:cubicBezTo>
                  <a:cubicBezTo>
                    <a:pt x="152194" y="362345"/>
                    <a:pt x="265246" y="221680"/>
                    <a:pt x="232455" y="122245"/>
                  </a:cubicBezTo>
                  <a:cubicBezTo>
                    <a:pt x="229974" y="114725"/>
                    <a:pt x="221937" y="108004"/>
                    <a:pt x="219069" y="99891"/>
                  </a:cubicBezTo>
                  <a:cubicBezTo>
                    <a:pt x="216433" y="92448"/>
                    <a:pt x="219405" y="84001"/>
                    <a:pt x="216253" y="77357"/>
                  </a:cubicBezTo>
                  <a:cubicBezTo>
                    <a:pt x="202428" y="47895"/>
                    <a:pt x="163176" y="20596"/>
                    <a:pt x="127439" y="-109"/>
                  </a:cubicBezTo>
                  <a:cubicBezTo>
                    <a:pt x="112891" y="19927"/>
                    <a:pt x="97645" y="37284"/>
                    <a:pt x="83174" y="57913"/>
                  </a:cubicBezTo>
                  <a:cubicBezTo>
                    <a:pt x="92037" y="65819"/>
                    <a:pt x="111314" y="71408"/>
                    <a:pt x="113511" y="80756"/>
                  </a:cubicBezTo>
                  <a:cubicBezTo>
                    <a:pt x="103330" y="79675"/>
                    <a:pt x="84053" y="76250"/>
                    <a:pt x="78445" y="65279"/>
                  </a:cubicBezTo>
                  <a:cubicBezTo>
                    <a:pt x="52501" y="97702"/>
                    <a:pt x="27255" y="133551"/>
                    <a:pt x="-32" y="160206"/>
                  </a:cubicBezTo>
                  <a:cubicBezTo>
                    <a:pt x="14206" y="204090"/>
                    <a:pt x="25886" y="248592"/>
                    <a:pt x="43612" y="291755"/>
                  </a:cubicBezTo>
                  <a:close/>
                </a:path>
              </a:pathLst>
            </a:custGeom>
            <a:grpFill/>
            <a:ln w="25598" cap="flat">
              <a:noFill/>
              <a:prstDash val="solid"/>
              <a:round/>
            </a:ln>
          </p:spPr>
          <p:txBody>
            <a:bodyPr rtlCol="0" anchor="ctr"/>
            <a:lstStyle/>
            <a:p>
              <a:endParaRPr lang="en-LT"/>
            </a:p>
          </p:txBody>
        </p:sp>
        <p:sp>
          <p:nvSpPr>
            <p:cNvPr id="237" name="Freeform 236">
              <a:extLst>
                <a:ext uri="{FF2B5EF4-FFF2-40B4-BE49-F238E27FC236}">
                  <a16:creationId xmlns:a16="http://schemas.microsoft.com/office/drawing/2014/main" id="{7BC1B36E-E7AB-7E41-B220-3796183CE3F6}"/>
                </a:ext>
              </a:extLst>
            </p:cNvPr>
            <p:cNvSpPr/>
            <p:nvPr/>
          </p:nvSpPr>
          <p:spPr>
            <a:xfrm rot="-1917689">
              <a:off x="5422447" y="2809993"/>
              <a:ext cx="142071" cy="222502"/>
            </a:xfrm>
            <a:custGeom>
              <a:avLst/>
              <a:gdLst>
                <a:gd name="connsiteX0" fmla="*/ 90363 w 142071"/>
                <a:gd name="connsiteY0" fmla="*/ 35667 h 222502"/>
                <a:gd name="connsiteX1" fmla="*/ 46770 w 142071"/>
                <a:gd name="connsiteY1" fmla="*/ 87303 h 222502"/>
                <a:gd name="connsiteX2" fmla="*/ 86151 w 142071"/>
                <a:gd name="connsiteY2" fmla="*/ 26086 h 222502"/>
                <a:gd name="connsiteX3" fmla="*/ 61396 w 142071"/>
                <a:gd name="connsiteY3" fmla="*/ -79 h 222502"/>
                <a:gd name="connsiteX4" fmla="*/ -27 w 142071"/>
                <a:gd name="connsiteY4" fmla="*/ 95441 h 222502"/>
                <a:gd name="connsiteX5" fmla="*/ 74316 w 142071"/>
                <a:gd name="connsiteY5" fmla="*/ 222405 h 222502"/>
                <a:gd name="connsiteX6" fmla="*/ 142044 w 142071"/>
                <a:gd name="connsiteY6" fmla="*/ 117125 h 222502"/>
                <a:gd name="connsiteX7" fmla="*/ 90363 w 142071"/>
                <a:gd name="connsiteY7" fmla="*/ 35667 h 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71" h="222502">
                  <a:moveTo>
                    <a:pt x="90363" y="35667"/>
                  </a:moveTo>
                  <a:cubicBezTo>
                    <a:pt x="74084" y="44784"/>
                    <a:pt x="64652" y="85448"/>
                    <a:pt x="46770" y="87303"/>
                  </a:cubicBezTo>
                  <a:cubicBezTo>
                    <a:pt x="60879" y="67241"/>
                    <a:pt x="76358" y="38577"/>
                    <a:pt x="86151" y="26086"/>
                  </a:cubicBezTo>
                  <a:cubicBezTo>
                    <a:pt x="76280" y="19030"/>
                    <a:pt x="74704" y="-775"/>
                    <a:pt x="61396" y="-79"/>
                  </a:cubicBezTo>
                  <a:cubicBezTo>
                    <a:pt x="47365" y="22532"/>
                    <a:pt x="19302" y="64794"/>
                    <a:pt x="-27" y="95441"/>
                  </a:cubicBezTo>
                  <a:cubicBezTo>
                    <a:pt x="24082" y="136518"/>
                    <a:pt x="46254" y="189080"/>
                    <a:pt x="74316" y="222405"/>
                  </a:cubicBezTo>
                  <a:cubicBezTo>
                    <a:pt x="96333" y="190986"/>
                    <a:pt x="132328" y="143677"/>
                    <a:pt x="142044" y="117125"/>
                  </a:cubicBezTo>
                  <a:cubicBezTo>
                    <a:pt x="126178" y="109116"/>
                    <a:pt x="122586" y="76692"/>
                    <a:pt x="90363" y="35667"/>
                  </a:cubicBezTo>
                  <a:close/>
                </a:path>
              </a:pathLst>
            </a:custGeom>
            <a:grpFill/>
            <a:ln w="25598" cap="flat">
              <a:noFill/>
              <a:prstDash val="solid"/>
              <a:round/>
            </a:ln>
          </p:spPr>
          <p:txBody>
            <a:bodyPr rtlCol="0" anchor="ctr"/>
            <a:lstStyle/>
            <a:p>
              <a:endParaRPr lang="en-LT"/>
            </a:p>
          </p:txBody>
        </p:sp>
        <p:sp>
          <p:nvSpPr>
            <p:cNvPr id="238" name="Freeform 237">
              <a:extLst>
                <a:ext uri="{FF2B5EF4-FFF2-40B4-BE49-F238E27FC236}">
                  <a16:creationId xmlns:a16="http://schemas.microsoft.com/office/drawing/2014/main" id="{F8B3694A-77A1-3D43-8626-675789F1B569}"/>
                </a:ext>
              </a:extLst>
            </p:cNvPr>
            <p:cNvSpPr/>
            <p:nvPr/>
          </p:nvSpPr>
          <p:spPr>
            <a:xfrm rot="-1917689">
              <a:off x="5803477" y="3184122"/>
              <a:ext cx="111010" cy="234975"/>
            </a:xfrm>
            <a:custGeom>
              <a:avLst/>
              <a:gdLst>
                <a:gd name="connsiteX0" fmla="*/ 110994 w 111010"/>
                <a:gd name="connsiteY0" fmla="*/ 212879 h 234975"/>
                <a:gd name="connsiteX1" fmla="*/ 15772 w 111010"/>
                <a:gd name="connsiteY1" fmla="*/ -102 h 234975"/>
                <a:gd name="connsiteX2" fmla="*/ 25746 w 111010"/>
                <a:gd name="connsiteY2" fmla="*/ 65054 h 234975"/>
                <a:gd name="connsiteX3" fmla="*/ 54377 w 111010"/>
                <a:gd name="connsiteY3" fmla="*/ 128228 h 234975"/>
                <a:gd name="connsiteX4" fmla="*/ -17 w 111010"/>
                <a:gd name="connsiteY4" fmla="*/ 24415 h 234975"/>
                <a:gd name="connsiteX5" fmla="*/ 96833 w 111010"/>
                <a:gd name="connsiteY5" fmla="*/ 234873 h 234975"/>
                <a:gd name="connsiteX6" fmla="*/ 110994 w 111010"/>
                <a:gd name="connsiteY6" fmla="*/ 212879 h 2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010" h="234975">
                  <a:moveTo>
                    <a:pt x="110994" y="212879"/>
                  </a:moveTo>
                  <a:cubicBezTo>
                    <a:pt x="78849" y="141877"/>
                    <a:pt x="53344" y="69613"/>
                    <a:pt x="15772" y="-102"/>
                  </a:cubicBezTo>
                  <a:cubicBezTo>
                    <a:pt x="-3298" y="22921"/>
                    <a:pt x="17374" y="47568"/>
                    <a:pt x="25746" y="65054"/>
                  </a:cubicBezTo>
                  <a:cubicBezTo>
                    <a:pt x="36057" y="86661"/>
                    <a:pt x="49029" y="106955"/>
                    <a:pt x="54377" y="128228"/>
                  </a:cubicBezTo>
                  <a:cubicBezTo>
                    <a:pt x="34971" y="93898"/>
                    <a:pt x="22671" y="58024"/>
                    <a:pt x="-17" y="24415"/>
                  </a:cubicBezTo>
                  <a:cubicBezTo>
                    <a:pt x="23266" y="96473"/>
                    <a:pt x="66109" y="164308"/>
                    <a:pt x="96833" y="234873"/>
                  </a:cubicBezTo>
                  <a:cubicBezTo>
                    <a:pt x="101536" y="227507"/>
                    <a:pt x="106265" y="220193"/>
                    <a:pt x="110994" y="212879"/>
                  </a:cubicBezTo>
                  <a:close/>
                </a:path>
              </a:pathLst>
            </a:custGeom>
            <a:grpFill/>
            <a:ln w="25598" cap="flat">
              <a:noFill/>
              <a:prstDash val="solid"/>
              <a:round/>
            </a:ln>
          </p:spPr>
          <p:txBody>
            <a:bodyPr rtlCol="0" anchor="ctr"/>
            <a:lstStyle/>
            <a:p>
              <a:endParaRPr lang="en-LT"/>
            </a:p>
          </p:txBody>
        </p:sp>
      </p:grpSp>
      <p:grpSp>
        <p:nvGrpSpPr>
          <p:cNvPr id="348" name="Group 347">
            <a:extLst>
              <a:ext uri="{FF2B5EF4-FFF2-40B4-BE49-F238E27FC236}">
                <a16:creationId xmlns:a16="http://schemas.microsoft.com/office/drawing/2014/main" id="{AF8670AB-CE3F-3A41-BE84-655932AB3272}"/>
              </a:ext>
            </a:extLst>
          </p:cNvPr>
          <p:cNvGrpSpPr/>
          <p:nvPr/>
        </p:nvGrpSpPr>
        <p:grpSpPr>
          <a:xfrm>
            <a:off x="9563175" y="2265898"/>
            <a:ext cx="546081" cy="1285264"/>
            <a:chOff x="6136180" y="2021920"/>
            <a:chExt cx="1063695" cy="2503528"/>
          </a:xfrm>
        </p:grpSpPr>
        <p:sp>
          <p:nvSpPr>
            <p:cNvPr id="349" name="Freeform 348">
              <a:extLst>
                <a:ext uri="{FF2B5EF4-FFF2-40B4-BE49-F238E27FC236}">
                  <a16:creationId xmlns:a16="http://schemas.microsoft.com/office/drawing/2014/main" id="{FB7F500C-9F28-454C-A9B1-6720AC14D38E}"/>
                </a:ext>
              </a:extLst>
            </p:cNvPr>
            <p:cNvSpPr/>
            <p:nvPr/>
          </p:nvSpPr>
          <p:spPr>
            <a:xfrm>
              <a:off x="6220308" y="2674119"/>
              <a:ext cx="194530" cy="512316"/>
            </a:xfrm>
            <a:custGeom>
              <a:avLst/>
              <a:gdLst>
                <a:gd name="connsiteX0" fmla="*/ 70802 w 71393"/>
                <a:gd name="connsiteY0" fmla="*/ 138873 h 188021"/>
                <a:gd name="connsiteX1" fmla="*/ 64456 w 71393"/>
                <a:gd name="connsiteY1" fmla="*/ 87599 h 188021"/>
                <a:gd name="connsiteX2" fmla="*/ 47485 w 71393"/>
                <a:gd name="connsiteY2" fmla="*/ -12 h 188021"/>
                <a:gd name="connsiteX3" fmla="*/ 47485 w 71393"/>
                <a:gd name="connsiteY3" fmla="*/ 12797 h 188021"/>
                <a:gd name="connsiteX4" fmla="*/ 46433 w 71393"/>
                <a:gd name="connsiteY4" fmla="*/ 4254 h 188021"/>
                <a:gd name="connsiteX5" fmla="*/ 26279 w 71393"/>
                <a:gd name="connsiteY5" fmla="*/ 30960 h 188021"/>
                <a:gd name="connsiteX6" fmla="*/ 24158 w 71393"/>
                <a:gd name="connsiteY6" fmla="*/ 27772 h 188021"/>
                <a:gd name="connsiteX7" fmla="*/ -220 w 71393"/>
                <a:gd name="connsiteY7" fmla="*/ 100408 h 188021"/>
                <a:gd name="connsiteX8" fmla="*/ 50657 w 71393"/>
                <a:gd name="connsiteY8" fmla="*/ 188009 h 188021"/>
                <a:gd name="connsiteX9" fmla="*/ 70802 w 71393"/>
                <a:gd name="connsiteY9" fmla="*/ 138873 h 18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93" h="188021">
                  <a:moveTo>
                    <a:pt x="70802" y="138873"/>
                  </a:moveTo>
                  <a:cubicBezTo>
                    <a:pt x="72548" y="123699"/>
                    <a:pt x="67760" y="104126"/>
                    <a:pt x="64456" y="87599"/>
                  </a:cubicBezTo>
                  <a:cubicBezTo>
                    <a:pt x="58655" y="58792"/>
                    <a:pt x="51136" y="31178"/>
                    <a:pt x="47485" y="-12"/>
                  </a:cubicBezTo>
                  <a:cubicBezTo>
                    <a:pt x="46001" y="5087"/>
                    <a:pt x="50169" y="10025"/>
                    <a:pt x="47485" y="12797"/>
                  </a:cubicBezTo>
                  <a:cubicBezTo>
                    <a:pt x="47710" y="9372"/>
                    <a:pt x="45617" y="8275"/>
                    <a:pt x="46433" y="4254"/>
                  </a:cubicBezTo>
                  <a:cubicBezTo>
                    <a:pt x="36943" y="10356"/>
                    <a:pt x="32390" y="21443"/>
                    <a:pt x="26279" y="30960"/>
                  </a:cubicBezTo>
                  <a:cubicBezTo>
                    <a:pt x="26176" y="29305"/>
                    <a:pt x="26420" y="27271"/>
                    <a:pt x="24158" y="27772"/>
                  </a:cubicBezTo>
                  <a:cubicBezTo>
                    <a:pt x="23088" y="59067"/>
                    <a:pt x="2624" y="70873"/>
                    <a:pt x="-220" y="100408"/>
                  </a:cubicBezTo>
                  <a:cubicBezTo>
                    <a:pt x="16198" y="130141"/>
                    <a:pt x="34906" y="157595"/>
                    <a:pt x="50657" y="188009"/>
                  </a:cubicBezTo>
                  <a:cubicBezTo>
                    <a:pt x="50545" y="167471"/>
                    <a:pt x="68690" y="157235"/>
                    <a:pt x="70802" y="138873"/>
                  </a:cubicBezTo>
                  <a:close/>
                </a:path>
              </a:pathLst>
            </a:custGeom>
            <a:solidFill>
              <a:schemeClr val="bg1"/>
            </a:solidFill>
            <a:ln w="9318" cap="flat">
              <a:noFill/>
              <a:prstDash val="solid"/>
              <a:round/>
            </a:ln>
          </p:spPr>
          <p:txBody>
            <a:bodyPr rtlCol="0" anchor="ctr"/>
            <a:lstStyle/>
            <a:p>
              <a:endParaRPr lang="en-LT"/>
            </a:p>
          </p:txBody>
        </p:sp>
        <p:sp>
          <p:nvSpPr>
            <p:cNvPr id="350" name="Freeform 349">
              <a:extLst>
                <a:ext uri="{FF2B5EF4-FFF2-40B4-BE49-F238E27FC236}">
                  <a16:creationId xmlns:a16="http://schemas.microsoft.com/office/drawing/2014/main" id="{CA463B78-3C5E-084B-9389-0EAB42CFAE19}"/>
                </a:ext>
              </a:extLst>
            </p:cNvPr>
            <p:cNvSpPr/>
            <p:nvPr/>
          </p:nvSpPr>
          <p:spPr>
            <a:xfrm>
              <a:off x="6405359" y="3212650"/>
              <a:ext cx="10169" cy="72741"/>
            </a:xfrm>
            <a:custGeom>
              <a:avLst/>
              <a:gdLst>
                <a:gd name="connsiteX0" fmla="*/ 776 w 3732"/>
                <a:gd name="connsiteY0" fmla="*/ 26684 h 26696"/>
                <a:gd name="connsiteX1" fmla="*/ 2888 w 3732"/>
                <a:gd name="connsiteY1" fmla="*/ -12 h 26696"/>
                <a:gd name="connsiteX2" fmla="*/ 776 w 3732"/>
                <a:gd name="connsiteY2" fmla="*/ 26684 h 26696"/>
              </a:gdLst>
              <a:ahLst/>
              <a:cxnLst>
                <a:cxn ang="0">
                  <a:pos x="connsiteX0" y="connsiteY0"/>
                </a:cxn>
                <a:cxn ang="0">
                  <a:pos x="connsiteX1" y="connsiteY1"/>
                </a:cxn>
                <a:cxn ang="0">
                  <a:pos x="connsiteX2" y="connsiteY2"/>
                </a:cxn>
              </a:cxnLst>
              <a:rect l="l" t="t" r="r" b="b"/>
              <a:pathLst>
                <a:path w="3732" h="26696">
                  <a:moveTo>
                    <a:pt x="776" y="26684"/>
                  </a:moveTo>
                  <a:cubicBezTo>
                    <a:pt x="851" y="17839"/>
                    <a:pt x="5066" y="7528"/>
                    <a:pt x="2888" y="-12"/>
                  </a:cubicBezTo>
                  <a:cubicBezTo>
                    <a:pt x="2391" y="8379"/>
                    <a:pt x="-2199" y="18322"/>
                    <a:pt x="776" y="26684"/>
                  </a:cubicBezTo>
                  <a:close/>
                </a:path>
              </a:pathLst>
            </a:custGeom>
            <a:solidFill>
              <a:schemeClr val="bg1"/>
            </a:solidFill>
            <a:ln w="9318" cap="flat">
              <a:noFill/>
              <a:prstDash val="solid"/>
              <a:round/>
            </a:ln>
          </p:spPr>
          <p:txBody>
            <a:bodyPr rtlCol="0" anchor="ctr"/>
            <a:lstStyle/>
            <a:p>
              <a:endParaRPr lang="en-LT"/>
            </a:p>
          </p:txBody>
        </p:sp>
        <p:sp>
          <p:nvSpPr>
            <p:cNvPr id="351" name="Freeform 350">
              <a:extLst>
                <a:ext uri="{FF2B5EF4-FFF2-40B4-BE49-F238E27FC236}">
                  <a16:creationId xmlns:a16="http://schemas.microsoft.com/office/drawing/2014/main" id="{828ECCC1-D044-6A42-B8E6-10C22D1393B2}"/>
                </a:ext>
              </a:extLst>
            </p:cNvPr>
            <p:cNvSpPr/>
            <p:nvPr/>
          </p:nvSpPr>
          <p:spPr>
            <a:xfrm>
              <a:off x="6419609" y="3110765"/>
              <a:ext cx="219503" cy="47567"/>
            </a:xfrm>
            <a:custGeom>
              <a:avLst/>
              <a:gdLst>
                <a:gd name="connsiteX0" fmla="*/ 54910 w 80558"/>
                <a:gd name="connsiteY0" fmla="*/ 6389 h 17457"/>
                <a:gd name="connsiteX1" fmla="*/ 59134 w 80558"/>
                <a:gd name="connsiteY1" fmla="*/ 7458 h 17457"/>
                <a:gd name="connsiteX2" fmla="*/ 54910 w 80558"/>
                <a:gd name="connsiteY2" fmla="*/ 7458 h 17457"/>
                <a:gd name="connsiteX3" fmla="*/ 33695 w 80558"/>
                <a:gd name="connsiteY3" fmla="*/ 9596 h 17457"/>
                <a:gd name="connsiteX4" fmla="*/ 31583 w 80558"/>
                <a:gd name="connsiteY4" fmla="*/ 7458 h 17457"/>
                <a:gd name="connsiteX5" fmla="*/ 54910 w 80558"/>
                <a:gd name="connsiteY5" fmla="*/ 6389 h 17457"/>
                <a:gd name="connsiteX6" fmla="*/ 16733 w 80558"/>
                <a:gd name="connsiteY6" fmla="*/ 17069 h 17457"/>
                <a:gd name="connsiteX7" fmla="*/ 17794 w 80558"/>
                <a:gd name="connsiteY7" fmla="*/ 11734 h 17457"/>
                <a:gd name="connsiteX8" fmla="*/ 80339 w 80558"/>
                <a:gd name="connsiteY8" fmla="*/ 2122 h 17457"/>
                <a:gd name="connsiteX9" fmla="*/ 8266 w 80558"/>
                <a:gd name="connsiteY9" fmla="*/ 1053 h 17457"/>
                <a:gd name="connsiteX10" fmla="*/ 8266 w 80558"/>
                <a:gd name="connsiteY10" fmla="*/ 2122 h 17457"/>
                <a:gd name="connsiteX11" fmla="*/ 30503 w 80558"/>
                <a:gd name="connsiteY11" fmla="*/ 5329 h 17457"/>
                <a:gd name="connsiteX12" fmla="*/ 30503 w 80558"/>
                <a:gd name="connsiteY12" fmla="*/ 9596 h 17457"/>
                <a:gd name="connsiteX13" fmla="*/ 14621 w 80558"/>
                <a:gd name="connsiteY13" fmla="*/ 6389 h 17457"/>
                <a:gd name="connsiteX14" fmla="*/ -220 w 80558"/>
                <a:gd name="connsiteY14" fmla="*/ 7458 h 17457"/>
                <a:gd name="connsiteX15" fmla="*/ 11439 w 80558"/>
                <a:gd name="connsiteY15" fmla="*/ 11734 h 17457"/>
                <a:gd name="connsiteX16" fmla="*/ 16733 w 80558"/>
                <a:gd name="connsiteY16" fmla="*/ 17069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558" h="17457">
                  <a:moveTo>
                    <a:pt x="54910" y="6389"/>
                  </a:moveTo>
                  <a:cubicBezTo>
                    <a:pt x="56580" y="6483"/>
                    <a:pt x="58927" y="5878"/>
                    <a:pt x="59134" y="7458"/>
                  </a:cubicBezTo>
                  <a:lnTo>
                    <a:pt x="54910" y="7458"/>
                  </a:lnTo>
                  <a:cubicBezTo>
                    <a:pt x="49503" y="9870"/>
                    <a:pt x="38839" y="6947"/>
                    <a:pt x="33695" y="9596"/>
                  </a:cubicBezTo>
                  <a:cubicBezTo>
                    <a:pt x="32766" y="9113"/>
                    <a:pt x="31818" y="8650"/>
                    <a:pt x="31583" y="7458"/>
                  </a:cubicBezTo>
                  <a:cubicBezTo>
                    <a:pt x="36352" y="1867"/>
                    <a:pt x="46630" y="8432"/>
                    <a:pt x="54910" y="6389"/>
                  </a:cubicBezTo>
                  <a:close/>
                  <a:moveTo>
                    <a:pt x="16733" y="17069"/>
                  </a:moveTo>
                  <a:cubicBezTo>
                    <a:pt x="20262" y="16729"/>
                    <a:pt x="13945" y="12405"/>
                    <a:pt x="17794" y="11734"/>
                  </a:cubicBezTo>
                  <a:cubicBezTo>
                    <a:pt x="42491" y="12405"/>
                    <a:pt x="62992" y="8848"/>
                    <a:pt x="80339" y="2122"/>
                  </a:cubicBezTo>
                  <a:cubicBezTo>
                    <a:pt x="63424" y="7562"/>
                    <a:pt x="30654" y="3570"/>
                    <a:pt x="8266" y="1053"/>
                  </a:cubicBezTo>
                  <a:cubicBezTo>
                    <a:pt x="6173" y="-1463"/>
                    <a:pt x="6173" y="1138"/>
                    <a:pt x="8266" y="2122"/>
                  </a:cubicBezTo>
                  <a:cubicBezTo>
                    <a:pt x="15944" y="2917"/>
                    <a:pt x="24430" y="2917"/>
                    <a:pt x="30503" y="5329"/>
                  </a:cubicBezTo>
                  <a:lnTo>
                    <a:pt x="30503" y="9596"/>
                  </a:lnTo>
                  <a:cubicBezTo>
                    <a:pt x="25097" y="8650"/>
                    <a:pt x="15278" y="12131"/>
                    <a:pt x="14621" y="6389"/>
                  </a:cubicBezTo>
                  <a:cubicBezTo>
                    <a:pt x="10791" y="13068"/>
                    <a:pt x="4558" y="4951"/>
                    <a:pt x="-220" y="7458"/>
                  </a:cubicBezTo>
                  <a:cubicBezTo>
                    <a:pt x="3563" y="8990"/>
                    <a:pt x="6604" y="11251"/>
                    <a:pt x="11439" y="11734"/>
                  </a:cubicBezTo>
                  <a:cubicBezTo>
                    <a:pt x="13025" y="13683"/>
                    <a:pt x="11410" y="18876"/>
                    <a:pt x="16733" y="17069"/>
                  </a:cubicBezTo>
                  <a:close/>
                </a:path>
              </a:pathLst>
            </a:custGeom>
            <a:solidFill>
              <a:schemeClr val="bg1"/>
            </a:solidFill>
            <a:ln w="9318" cap="flat">
              <a:noFill/>
              <a:prstDash val="solid"/>
              <a:round/>
            </a:ln>
          </p:spPr>
          <p:txBody>
            <a:bodyPr rtlCol="0" anchor="ctr"/>
            <a:lstStyle/>
            <a:p>
              <a:endParaRPr lang="en-LT"/>
            </a:p>
          </p:txBody>
        </p:sp>
        <p:sp>
          <p:nvSpPr>
            <p:cNvPr id="352" name="Freeform 351">
              <a:extLst>
                <a:ext uri="{FF2B5EF4-FFF2-40B4-BE49-F238E27FC236}">
                  <a16:creationId xmlns:a16="http://schemas.microsoft.com/office/drawing/2014/main" id="{18894AF0-38E4-7449-A285-4FFC1EF1BD2B}"/>
                </a:ext>
              </a:extLst>
            </p:cNvPr>
            <p:cNvSpPr/>
            <p:nvPr/>
          </p:nvSpPr>
          <p:spPr>
            <a:xfrm>
              <a:off x="6789253" y="2583847"/>
              <a:ext cx="15087" cy="142108"/>
            </a:xfrm>
            <a:custGeom>
              <a:avLst/>
              <a:gdLst>
                <a:gd name="connsiteX0" fmla="*/ -220 w 5537"/>
                <a:gd name="connsiteY0" fmla="*/ 52142 h 52154"/>
                <a:gd name="connsiteX1" fmla="*/ 5102 w 5537"/>
                <a:gd name="connsiteY1" fmla="*/ -12 h 52154"/>
                <a:gd name="connsiteX2" fmla="*/ -220 w 5537"/>
                <a:gd name="connsiteY2" fmla="*/ 52142 h 52154"/>
              </a:gdLst>
              <a:ahLst/>
              <a:cxnLst>
                <a:cxn ang="0">
                  <a:pos x="connsiteX0" y="connsiteY0"/>
                </a:cxn>
                <a:cxn ang="0">
                  <a:pos x="connsiteX1" y="connsiteY1"/>
                </a:cxn>
                <a:cxn ang="0">
                  <a:pos x="connsiteX2" y="connsiteY2"/>
                </a:cxn>
              </a:cxnLst>
              <a:rect l="l" t="t" r="r" b="b"/>
              <a:pathLst>
                <a:path w="5537" h="52154">
                  <a:moveTo>
                    <a:pt x="-220" y="52142"/>
                  </a:moveTo>
                  <a:cubicBezTo>
                    <a:pt x="1911" y="34924"/>
                    <a:pt x="6342" y="16988"/>
                    <a:pt x="5102" y="-12"/>
                  </a:cubicBezTo>
                  <a:cubicBezTo>
                    <a:pt x="2408" y="16449"/>
                    <a:pt x="794" y="33988"/>
                    <a:pt x="-220" y="52142"/>
                  </a:cubicBezTo>
                  <a:close/>
                </a:path>
              </a:pathLst>
            </a:custGeom>
            <a:solidFill>
              <a:schemeClr val="bg1"/>
            </a:solidFill>
            <a:ln w="9318" cap="flat">
              <a:noFill/>
              <a:prstDash val="solid"/>
              <a:round/>
            </a:ln>
          </p:spPr>
          <p:txBody>
            <a:bodyPr rtlCol="0" anchor="ctr"/>
            <a:lstStyle/>
            <a:p>
              <a:endParaRPr lang="en-LT"/>
            </a:p>
          </p:txBody>
        </p:sp>
        <p:sp>
          <p:nvSpPr>
            <p:cNvPr id="353" name="Freeform 352">
              <a:extLst>
                <a:ext uri="{FF2B5EF4-FFF2-40B4-BE49-F238E27FC236}">
                  <a16:creationId xmlns:a16="http://schemas.microsoft.com/office/drawing/2014/main" id="{CFC526FA-69FA-0743-B6DF-D21AA1649005}"/>
                </a:ext>
              </a:extLst>
            </p:cNvPr>
            <p:cNvSpPr/>
            <p:nvPr/>
          </p:nvSpPr>
          <p:spPr>
            <a:xfrm>
              <a:off x="6845280" y="3780260"/>
              <a:ext cx="8024" cy="20681"/>
            </a:xfrm>
            <a:custGeom>
              <a:avLst/>
              <a:gdLst>
                <a:gd name="connsiteX0" fmla="*/ 2554 w 2945"/>
                <a:gd name="connsiteY0" fmla="*/ -12 h 7590"/>
                <a:gd name="connsiteX1" fmla="*/ 2554 w 2945"/>
                <a:gd name="connsiteY1" fmla="*/ -12 h 7590"/>
              </a:gdLst>
              <a:ahLst/>
              <a:cxnLst>
                <a:cxn ang="0">
                  <a:pos x="connsiteX0" y="connsiteY0"/>
                </a:cxn>
                <a:cxn ang="0">
                  <a:pos x="connsiteX1" y="connsiteY1"/>
                </a:cxn>
              </a:cxnLst>
              <a:rect l="l" t="t" r="r" b="b"/>
              <a:pathLst>
                <a:path w="2945" h="7590">
                  <a:moveTo>
                    <a:pt x="2554" y="-12"/>
                  </a:moveTo>
                  <a:cubicBezTo>
                    <a:pt x="-4355" y="14121"/>
                    <a:pt x="3999" y="5144"/>
                    <a:pt x="2554" y="-12"/>
                  </a:cubicBezTo>
                  <a:close/>
                </a:path>
              </a:pathLst>
            </a:custGeom>
            <a:solidFill>
              <a:schemeClr val="bg1"/>
            </a:solidFill>
            <a:ln w="9318" cap="flat">
              <a:noFill/>
              <a:prstDash val="solid"/>
              <a:round/>
            </a:ln>
          </p:spPr>
          <p:txBody>
            <a:bodyPr rtlCol="0" anchor="ctr"/>
            <a:lstStyle/>
            <a:p>
              <a:endParaRPr lang="en-LT"/>
            </a:p>
          </p:txBody>
        </p:sp>
        <p:sp>
          <p:nvSpPr>
            <p:cNvPr id="354" name="Freeform 353">
              <a:extLst>
                <a:ext uri="{FF2B5EF4-FFF2-40B4-BE49-F238E27FC236}">
                  <a16:creationId xmlns:a16="http://schemas.microsoft.com/office/drawing/2014/main" id="{C9807F2F-9784-BE49-BF69-168B6B87DC99}"/>
                </a:ext>
              </a:extLst>
            </p:cNvPr>
            <p:cNvSpPr/>
            <p:nvPr/>
          </p:nvSpPr>
          <p:spPr>
            <a:xfrm>
              <a:off x="7024881" y="3853029"/>
              <a:ext cx="18608" cy="20338"/>
            </a:xfrm>
            <a:custGeom>
              <a:avLst/>
              <a:gdLst>
                <a:gd name="connsiteX0" fmla="*/ 245 w 6829"/>
                <a:gd name="connsiteY0" fmla="*/ 7452 h 7464"/>
                <a:gd name="connsiteX1" fmla="*/ 6610 w 6829"/>
                <a:gd name="connsiteY1" fmla="*/ -12 h 7464"/>
                <a:gd name="connsiteX2" fmla="*/ 245 w 6829"/>
                <a:gd name="connsiteY2" fmla="*/ 7452 h 7464"/>
              </a:gdLst>
              <a:ahLst/>
              <a:cxnLst>
                <a:cxn ang="0">
                  <a:pos x="connsiteX0" y="connsiteY0"/>
                </a:cxn>
                <a:cxn ang="0">
                  <a:pos x="connsiteX1" y="connsiteY1"/>
                </a:cxn>
                <a:cxn ang="0">
                  <a:pos x="connsiteX2" y="connsiteY2"/>
                </a:cxn>
              </a:cxnLst>
              <a:rect l="l" t="t" r="r" b="b"/>
              <a:pathLst>
                <a:path w="6829" h="7464">
                  <a:moveTo>
                    <a:pt x="245" y="7452"/>
                  </a:moveTo>
                  <a:cubicBezTo>
                    <a:pt x="1710" y="4311"/>
                    <a:pt x="5155" y="3138"/>
                    <a:pt x="6610" y="-12"/>
                  </a:cubicBezTo>
                  <a:cubicBezTo>
                    <a:pt x="3475" y="792"/>
                    <a:pt x="-1820" y="4945"/>
                    <a:pt x="245" y="7452"/>
                  </a:cubicBezTo>
                  <a:close/>
                </a:path>
              </a:pathLst>
            </a:custGeom>
            <a:solidFill>
              <a:schemeClr val="bg1"/>
            </a:solidFill>
            <a:ln w="9318" cap="flat">
              <a:noFill/>
              <a:prstDash val="solid"/>
              <a:round/>
            </a:ln>
          </p:spPr>
          <p:txBody>
            <a:bodyPr rtlCol="0" anchor="ctr"/>
            <a:lstStyle/>
            <a:p>
              <a:endParaRPr lang="en-LT"/>
            </a:p>
          </p:txBody>
        </p:sp>
        <p:sp>
          <p:nvSpPr>
            <p:cNvPr id="355" name="Freeform 354">
              <a:extLst>
                <a:ext uri="{FF2B5EF4-FFF2-40B4-BE49-F238E27FC236}">
                  <a16:creationId xmlns:a16="http://schemas.microsoft.com/office/drawing/2014/main" id="{ED7E5AAF-D557-B144-86D3-B79BAA40B974}"/>
                </a:ext>
              </a:extLst>
            </p:cNvPr>
            <p:cNvSpPr/>
            <p:nvPr/>
          </p:nvSpPr>
          <p:spPr>
            <a:xfrm>
              <a:off x="7080549" y="3786062"/>
              <a:ext cx="21594" cy="26471"/>
            </a:xfrm>
            <a:custGeom>
              <a:avLst/>
              <a:gdLst>
                <a:gd name="connsiteX0" fmla="*/ 7366 w 7925"/>
                <a:gd name="connsiteY0" fmla="*/ -12 h 9715"/>
                <a:gd name="connsiteX1" fmla="*/ -49 w 7925"/>
                <a:gd name="connsiteY1" fmla="*/ 9599 h 9715"/>
                <a:gd name="connsiteX2" fmla="*/ 7366 w 7925"/>
                <a:gd name="connsiteY2" fmla="*/ -12 h 9715"/>
              </a:gdLst>
              <a:ahLst/>
              <a:cxnLst>
                <a:cxn ang="0">
                  <a:pos x="connsiteX0" y="connsiteY0"/>
                </a:cxn>
                <a:cxn ang="0">
                  <a:pos x="connsiteX1" y="connsiteY1"/>
                </a:cxn>
                <a:cxn ang="0">
                  <a:pos x="connsiteX2" y="connsiteY2"/>
                </a:cxn>
              </a:cxnLst>
              <a:rect l="l" t="t" r="r" b="b"/>
              <a:pathLst>
                <a:path w="7925" h="9715">
                  <a:moveTo>
                    <a:pt x="7366" y="-12"/>
                  </a:moveTo>
                  <a:cubicBezTo>
                    <a:pt x="4175" y="1359"/>
                    <a:pt x="-1251" y="10791"/>
                    <a:pt x="-49" y="9599"/>
                  </a:cubicBezTo>
                  <a:cubicBezTo>
                    <a:pt x="2372" y="6998"/>
                    <a:pt x="9310" y="3403"/>
                    <a:pt x="7366" y="-12"/>
                  </a:cubicBezTo>
                  <a:close/>
                </a:path>
              </a:pathLst>
            </a:custGeom>
            <a:solidFill>
              <a:schemeClr val="bg1"/>
            </a:solidFill>
            <a:ln w="9318" cap="flat">
              <a:noFill/>
              <a:prstDash val="solid"/>
              <a:round/>
            </a:ln>
          </p:spPr>
          <p:txBody>
            <a:bodyPr rtlCol="0" anchor="ctr"/>
            <a:lstStyle/>
            <a:p>
              <a:endParaRPr lang="en-LT"/>
            </a:p>
          </p:txBody>
        </p:sp>
        <p:sp>
          <p:nvSpPr>
            <p:cNvPr id="356" name="Freeform 355">
              <a:extLst>
                <a:ext uri="{FF2B5EF4-FFF2-40B4-BE49-F238E27FC236}">
                  <a16:creationId xmlns:a16="http://schemas.microsoft.com/office/drawing/2014/main" id="{D5BEB7B0-69BD-2C40-B3F4-AC72A4EA3418}"/>
                </a:ext>
              </a:extLst>
            </p:cNvPr>
            <p:cNvSpPr/>
            <p:nvPr/>
          </p:nvSpPr>
          <p:spPr>
            <a:xfrm>
              <a:off x="6893002" y="3981115"/>
              <a:ext cx="14725" cy="11891"/>
            </a:xfrm>
            <a:custGeom>
              <a:avLst/>
              <a:gdLst>
                <a:gd name="connsiteX0" fmla="*/ 4133 w 5404"/>
                <a:gd name="connsiteY0" fmla="*/ 4254 h 4364"/>
                <a:gd name="connsiteX1" fmla="*/ 5184 w 5404"/>
                <a:gd name="connsiteY1" fmla="*/ 1057 h 4364"/>
                <a:gd name="connsiteX2" fmla="*/ -129 w 5404"/>
                <a:gd name="connsiteY2" fmla="*/ -12 h 4364"/>
                <a:gd name="connsiteX3" fmla="*/ 4133 w 5404"/>
                <a:gd name="connsiteY3" fmla="*/ 4254 h 4364"/>
              </a:gdLst>
              <a:ahLst/>
              <a:cxnLst>
                <a:cxn ang="0">
                  <a:pos x="connsiteX0" y="connsiteY0"/>
                </a:cxn>
                <a:cxn ang="0">
                  <a:pos x="connsiteX1" y="connsiteY1"/>
                </a:cxn>
                <a:cxn ang="0">
                  <a:pos x="connsiteX2" y="connsiteY2"/>
                </a:cxn>
                <a:cxn ang="0">
                  <a:pos x="connsiteX3" y="connsiteY3"/>
                </a:cxn>
              </a:cxnLst>
              <a:rect l="l" t="t" r="r" b="b"/>
              <a:pathLst>
                <a:path w="5404" h="4364">
                  <a:moveTo>
                    <a:pt x="4133" y="4254"/>
                  </a:moveTo>
                  <a:cubicBezTo>
                    <a:pt x="4076" y="2760"/>
                    <a:pt x="4630" y="1918"/>
                    <a:pt x="5184" y="1057"/>
                  </a:cubicBezTo>
                  <a:cubicBezTo>
                    <a:pt x="2725" y="1369"/>
                    <a:pt x="1110" y="877"/>
                    <a:pt x="-129" y="-12"/>
                  </a:cubicBezTo>
                  <a:cubicBezTo>
                    <a:pt x="-608" y="3327"/>
                    <a:pt x="800" y="4756"/>
                    <a:pt x="4133" y="4254"/>
                  </a:cubicBezTo>
                  <a:close/>
                </a:path>
              </a:pathLst>
            </a:custGeom>
            <a:solidFill>
              <a:schemeClr val="bg1"/>
            </a:solidFill>
            <a:ln w="9318" cap="flat">
              <a:noFill/>
              <a:prstDash val="solid"/>
              <a:round/>
            </a:ln>
          </p:spPr>
          <p:txBody>
            <a:bodyPr rtlCol="0" anchor="ctr"/>
            <a:lstStyle/>
            <a:p>
              <a:endParaRPr lang="en-LT"/>
            </a:p>
          </p:txBody>
        </p:sp>
        <p:sp>
          <p:nvSpPr>
            <p:cNvPr id="357" name="Freeform 356">
              <a:extLst>
                <a:ext uri="{FF2B5EF4-FFF2-40B4-BE49-F238E27FC236}">
                  <a16:creationId xmlns:a16="http://schemas.microsoft.com/office/drawing/2014/main" id="{30483A10-258B-974C-B598-E47A934C681C}"/>
                </a:ext>
              </a:extLst>
            </p:cNvPr>
            <p:cNvSpPr/>
            <p:nvPr/>
          </p:nvSpPr>
          <p:spPr>
            <a:xfrm>
              <a:off x="6883882" y="3835527"/>
              <a:ext cx="9232" cy="26240"/>
            </a:xfrm>
            <a:custGeom>
              <a:avLst/>
              <a:gdLst>
                <a:gd name="connsiteX0" fmla="*/ 2157 w 3388"/>
                <a:gd name="connsiteY0" fmla="*/ -12 h 9630"/>
                <a:gd name="connsiteX1" fmla="*/ 1106 w 3388"/>
                <a:gd name="connsiteY1" fmla="*/ 9618 h 9630"/>
                <a:gd name="connsiteX2" fmla="*/ 2157 w 3388"/>
                <a:gd name="connsiteY2" fmla="*/ -12 h 9630"/>
              </a:gdLst>
              <a:ahLst/>
              <a:cxnLst>
                <a:cxn ang="0">
                  <a:pos x="connsiteX0" y="connsiteY0"/>
                </a:cxn>
                <a:cxn ang="0">
                  <a:pos x="connsiteX1" y="connsiteY1"/>
                </a:cxn>
                <a:cxn ang="0">
                  <a:pos x="connsiteX2" y="connsiteY2"/>
                </a:cxn>
              </a:cxnLst>
              <a:rect l="l" t="t" r="r" b="b"/>
              <a:pathLst>
                <a:path w="3388" h="9630">
                  <a:moveTo>
                    <a:pt x="2157" y="-12"/>
                  </a:moveTo>
                  <a:cubicBezTo>
                    <a:pt x="1697" y="2438"/>
                    <a:pt x="-2217" y="6865"/>
                    <a:pt x="1106" y="9618"/>
                  </a:cubicBezTo>
                  <a:cubicBezTo>
                    <a:pt x="186" y="5749"/>
                    <a:pt x="5246" y="2485"/>
                    <a:pt x="2157" y="-12"/>
                  </a:cubicBezTo>
                  <a:close/>
                </a:path>
              </a:pathLst>
            </a:custGeom>
            <a:solidFill>
              <a:schemeClr val="bg1"/>
            </a:solidFill>
            <a:ln w="9318" cap="flat">
              <a:noFill/>
              <a:prstDash val="solid"/>
              <a:round/>
            </a:ln>
          </p:spPr>
          <p:txBody>
            <a:bodyPr rtlCol="0" anchor="ctr"/>
            <a:lstStyle/>
            <a:p>
              <a:endParaRPr lang="en-LT"/>
            </a:p>
          </p:txBody>
        </p:sp>
        <p:sp>
          <p:nvSpPr>
            <p:cNvPr id="358" name="Freeform 357">
              <a:extLst>
                <a:ext uri="{FF2B5EF4-FFF2-40B4-BE49-F238E27FC236}">
                  <a16:creationId xmlns:a16="http://schemas.microsoft.com/office/drawing/2014/main" id="{5B303A02-CC85-B940-8FF0-D3284EF0F50A}"/>
                </a:ext>
              </a:extLst>
            </p:cNvPr>
            <p:cNvSpPr/>
            <p:nvPr/>
          </p:nvSpPr>
          <p:spPr>
            <a:xfrm>
              <a:off x="6382571" y="3372366"/>
              <a:ext cx="26114" cy="26986"/>
            </a:xfrm>
            <a:custGeom>
              <a:avLst/>
              <a:gdLst>
                <a:gd name="connsiteX0" fmla="*/ -220 w 9584"/>
                <a:gd name="connsiteY0" fmla="*/ 9893 h 9904"/>
                <a:gd name="connsiteX1" fmla="*/ 9364 w 9584"/>
                <a:gd name="connsiteY1" fmla="*/ -12 h 9904"/>
                <a:gd name="connsiteX2" fmla="*/ -220 w 9584"/>
                <a:gd name="connsiteY2" fmla="*/ 9893 h 9904"/>
              </a:gdLst>
              <a:ahLst/>
              <a:cxnLst>
                <a:cxn ang="0">
                  <a:pos x="connsiteX0" y="connsiteY0"/>
                </a:cxn>
                <a:cxn ang="0">
                  <a:pos x="connsiteX1" y="connsiteY1"/>
                </a:cxn>
                <a:cxn ang="0">
                  <a:pos x="connsiteX2" y="connsiteY2"/>
                </a:cxn>
              </a:cxnLst>
              <a:rect l="l" t="t" r="r" b="b"/>
              <a:pathLst>
                <a:path w="9584" h="9904">
                  <a:moveTo>
                    <a:pt x="-220" y="9893"/>
                  </a:moveTo>
                  <a:cubicBezTo>
                    <a:pt x="3000" y="6563"/>
                    <a:pt x="6191" y="3233"/>
                    <a:pt x="9364" y="-12"/>
                  </a:cubicBezTo>
                  <a:cubicBezTo>
                    <a:pt x="5590" y="2958"/>
                    <a:pt x="2099" y="6118"/>
                    <a:pt x="-220" y="9893"/>
                  </a:cubicBezTo>
                  <a:close/>
                </a:path>
              </a:pathLst>
            </a:custGeom>
            <a:solidFill>
              <a:schemeClr val="bg1"/>
            </a:solidFill>
            <a:ln w="9318" cap="flat">
              <a:noFill/>
              <a:prstDash val="solid"/>
              <a:round/>
            </a:ln>
          </p:spPr>
          <p:txBody>
            <a:bodyPr rtlCol="0" anchor="ctr"/>
            <a:lstStyle/>
            <a:p>
              <a:endParaRPr lang="en-LT"/>
            </a:p>
          </p:txBody>
        </p:sp>
        <p:sp>
          <p:nvSpPr>
            <p:cNvPr id="359" name="Freeform 358">
              <a:extLst>
                <a:ext uri="{FF2B5EF4-FFF2-40B4-BE49-F238E27FC236}">
                  <a16:creationId xmlns:a16="http://schemas.microsoft.com/office/drawing/2014/main" id="{CB5BB6E8-498E-224B-ADDC-32B5589F5ACC}"/>
                </a:ext>
              </a:extLst>
            </p:cNvPr>
            <p:cNvSpPr/>
            <p:nvPr/>
          </p:nvSpPr>
          <p:spPr>
            <a:xfrm>
              <a:off x="6786468" y="2725955"/>
              <a:ext cx="2782" cy="54389"/>
            </a:xfrm>
            <a:custGeom>
              <a:avLst/>
              <a:gdLst>
                <a:gd name="connsiteX0" fmla="*/ -71 w 1021"/>
                <a:gd name="connsiteY0" fmla="*/ 19949 h 19961"/>
                <a:gd name="connsiteX1" fmla="*/ 802 w 1021"/>
                <a:gd name="connsiteY1" fmla="*/ -12 h 19961"/>
                <a:gd name="connsiteX2" fmla="*/ -71 w 1021"/>
                <a:gd name="connsiteY2" fmla="*/ 19949 h 19961"/>
              </a:gdLst>
              <a:ahLst/>
              <a:cxnLst>
                <a:cxn ang="0">
                  <a:pos x="connsiteX0" y="connsiteY0"/>
                </a:cxn>
                <a:cxn ang="0">
                  <a:pos x="connsiteX1" y="connsiteY1"/>
                </a:cxn>
                <a:cxn ang="0">
                  <a:pos x="connsiteX2" y="connsiteY2"/>
                </a:cxn>
              </a:cxnLst>
              <a:rect l="l" t="t" r="r" b="b"/>
              <a:pathLst>
                <a:path w="1021" h="19961">
                  <a:moveTo>
                    <a:pt x="-71" y="19949"/>
                  </a:moveTo>
                  <a:cubicBezTo>
                    <a:pt x="145" y="13213"/>
                    <a:pt x="436" y="6563"/>
                    <a:pt x="802" y="-12"/>
                  </a:cubicBezTo>
                  <a:cubicBezTo>
                    <a:pt x="-43" y="6790"/>
                    <a:pt x="-465" y="13469"/>
                    <a:pt x="-71" y="19949"/>
                  </a:cubicBezTo>
                  <a:close/>
                </a:path>
              </a:pathLst>
            </a:custGeom>
            <a:solidFill>
              <a:schemeClr val="bg1"/>
            </a:solidFill>
            <a:ln w="9318" cap="flat">
              <a:noFill/>
              <a:prstDash val="solid"/>
              <a:round/>
            </a:ln>
          </p:spPr>
          <p:txBody>
            <a:bodyPr rtlCol="0" anchor="ctr"/>
            <a:lstStyle/>
            <a:p>
              <a:endParaRPr lang="en-LT"/>
            </a:p>
          </p:txBody>
        </p:sp>
        <p:sp>
          <p:nvSpPr>
            <p:cNvPr id="360" name="Freeform 359">
              <a:extLst>
                <a:ext uri="{FF2B5EF4-FFF2-40B4-BE49-F238E27FC236}">
                  <a16:creationId xmlns:a16="http://schemas.microsoft.com/office/drawing/2014/main" id="{8CE9F017-28D9-B344-B9B3-0930FA74328B}"/>
                </a:ext>
              </a:extLst>
            </p:cNvPr>
            <p:cNvSpPr/>
            <p:nvPr/>
          </p:nvSpPr>
          <p:spPr>
            <a:xfrm>
              <a:off x="6552159" y="3547341"/>
              <a:ext cx="6101" cy="29101"/>
            </a:xfrm>
            <a:custGeom>
              <a:avLst/>
              <a:gdLst>
                <a:gd name="connsiteX0" fmla="*/ 2020 w 2239"/>
                <a:gd name="connsiteY0" fmla="*/ 10668 h 10680"/>
                <a:gd name="connsiteX1" fmla="*/ -101 w 2239"/>
                <a:gd name="connsiteY1" fmla="*/ -12 h 10680"/>
                <a:gd name="connsiteX2" fmla="*/ 2020 w 2239"/>
                <a:gd name="connsiteY2" fmla="*/ 10668 h 10680"/>
              </a:gdLst>
              <a:ahLst/>
              <a:cxnLst>
                <a:cxn ang="0">
                  <a:pos x="connsiteX0" y="connsiteY0"/>
                </a:cxn>
                <a:cxn ang="0">
                  <a:pos x="connsiteX1" y="connsiteY1"/>
                </a:cxn>
                <a:cxn ang="0">
                  <a:pos x="connsiteX2" y="connsiteY2"/>
                </a:cxn>
              </a:cxnLst>
              <a:rect l="l" t="t" r="r" b="b"/>
              <a:pathLst>
                <a:path w="2239" h="10680">
                  <a:moveTo>
                    <a:pt x="2020" y="10668"/>
                  </a:moveTo>
                  <a:cubicBezTo>
                    <a:pt x="1935" y="6487"/>
                    <a:pt x="1494" y="2646"/>
                    <a:pt x="-101" y="-12"/>
                  </a:cubicBezTo>
                  <a:cubicBezTo>
                    <a:pt x="452" y="3687"/>
                    <a:pt x="-1678" y="10139"/>
                    <a:pt x="2020" y="10668"/>
                  </a:cubicBezTo>
                  <a:close/>
                </a:path>
              </a:pathLst>
            </a:custGeom>
            <a:solidFill>
              <a:schemeClr val="bg1"/>
            </a:solidFill>
            <a:ln w="9318" cap="flat">
              <a:noFill/>
              <a:prstDash val="solid"/>
              <a:round/>
            </a:ln>
          </p:spPr>
          <p:txBody>
            <a:bodyPr rtlCol="0" anchor="ctr"/>
            <a:lstStyle/>
            <a:p>
              <a:endParaRPr lang="en-LT"/>
            </a:p>
          </p:txBody>
        </p:sp>
        <p:sp>
          <p:nvSpPr>
            <p:cNvPr id="361" name="Freeform 360">
              <a:extLst>
                <a:ext uri="{FF2B5EF4-FFF2-40B4-BE49-F238E27FC236}">
                  <a16:creationId xmlns:a16="http://schemas.microsoft.com/office/drawing/2014/main" id="{DD0AFBD0-3FB0-8C49-9F60-57D73AA340EE}"/>
                </a:ext>
              </a:extLst>
            </p:cNvPr>
            <p:cNvSpPr/>
            <p:nvPr/>
          </p:nvSpPr>
          <p:spPr>
            <a:xfrm>
              <a:off x="6612608" y="2639217"/>
              <a:ext cx="17858" cy="205669"/>
            </a:xfrm>
            <a:custGeom>
              <a:avLst/>
              <a:gdLst>
                <a:gd name="connsiteX0" fmla="*/ 1031 w 6554"/>
                <a:gd name="connsiteY0" fmla="*/ 72623 h 75481"/>
                <a:gd name="connsiteX1" fmla="*/ 6334 w 6554"/>
                <a:gd name="connsiteY1" fmla="*/ -12 h 75481"/>
                <a:gd name="connsiteX2" fmla="*/ -39 w 6554"/>
                <a:gd name="connsiteY2" fmla="*/ 71554 h 75481"/>
                <a:gd name="connsiteX3" fmla="*/ 1031 w 6554"/>
                <a:gd name="connsiteY3" fmla="*/ 72623 h 75481"/>
              </a:gdLst>
              <a:ahLst/>
              <a:cxnLst>
                <a:cxn ang="0">
                  <a:pos x="connsiteX0" y="connsiteY0"/>
                </a:cxn>
                <a:cxn ang="0">
                  <a:pos x="connsiteX1" y="connsiteY1"/>
                </a:cxn>
                <a:cxn ang="0">
                  <a:pos x="connsiteX2" y="connsiteY2"/>
                </a:cxn>
                <a:cxn ang="0">
                  <a:pos x="connsiteX3" y="connsiteY3"/>
                </a:cxn>
              </a:cxnLst>
              <a:rect l="l" t="t" r="r" b="b"/>
              <a:pathLst>
                <a:path w="6554" h="75481">
                  <a:moveTo>
                    <a:pt x="1031" y="72623"/>
                  </a:moveTo>
                  <a:cubicBezTo>
                    <a:pt x="26" y="46314"/>
                    <a:pt x="5856" y="21216"/>
                    <a:pt x="6334" y="-12"/>
                  </a:cubicBezTo>
                  <a:cubicBezTo>
                    <a:pt x="-1494" y="18104"/>
                    <a:pt x="-20" y="45558"/>
                    <a:pt x="-39" y="71554"/>
                  </a:cubicBezTo>
                  <a:cubicBezTo>
                    <a:pt x="-884" y="75206"/>
                    <a:pt x="1538" y="77647"/>
                    <a:pt x="1031" y="72623"/>
                  </a:cubicBezTo>
                  <a:close/>
                </a:path>
              </a:pathLst>
            </a:custGeom>
            <a:solidFill>
              <a:schemeClr val="bg1"/>
            </a:solidFill>
            <a:ln w="9318" cap="flat">
              <a:noFill/>
              <a:prstDash val="solid"/>
              <a:round/>
            </a:ln>
          </p:spPr>
          <p:txBody>
            <a:bodyPr rtlCol="0" anchor="ctr"/>
            <a:lstStyle/>
            <a:p>
              <a:endParaRPr lang="en-LT"/>
            </a:p>
          </p:txBody>
        </p:sp>
        <p:sp>
          <p:nvSpPr>
            <p:cNvPr id="362" name="Freeform 361">
              <a:extLst>
                <a:ext uri="{FF2B5EF4-FFF2-40B4-BE49-F238E27FC236}">
                  <a16:creationId xmlns:a16="http://schemas.microsoft.com/office/drawing/2014/main" id="{E0C8267B-822B-1B46-81D3-4F5E42FD6E42}"/>
                </a:ext>
              </a:extLst>
            </p:cNvPr>
            <p:cNvSpPr/>
            <p:nvPr/>
          </p:nvSpPr>
          <p:spPr>
            <a:xfrm>
              <a:off x="6657513" y="2586787"/>
              <a:ext cx="8150" cy="26188"/>
            </a:xfrm>
            <a:custGeom>
              <a:avLst/>
              <a:gdLst>
                <a:gd name="connsiteX0" fmla="*/ 1494 w 2991"/>
                <a:gd name="connsiteY0" fmla="*/ -12 h 9611"/>
                <a:gd name="connsiteX1" fmla="*/ 1494 w 2991"/>
                <a:gd name="connsiteY1" fmla="*/ 9599 h 9611"/>
                <a:gd name="connsiteX2" fmla="*/ 1494 w 2991"/>
                <a:gd name="connsiteY2" fmla="*/ -12 h 9611"/>
              </a:gdLst>
              <a:ahLst/>
              <a:cxnLst>
                <a:cxn ang="0">
                  <a:pos x="connsiteX0" y="connsiteY0"/>
                </a:cxn>
                <a:cxn ang="0">
                  <a:pos x="connsiteX1" y="connsiteY1"/>
                </a:cxn>
                <a:cxn ang="0">
                  <a:pos x="connsiteX2" y="connsiteY2"/>
                </a:cxn>
              </a:cxnLst>
              <a:rect l="l" t="t" r="r" b="b"/>
              <a:pathLst>
                <a:path w="2991" h="9611">
                  <a:moveTo>
                    <a:pt x="1494" y="-12"/>
                  </a:moveTo>
                  <a:cubicBezTo>
                    <a:pt x="-1312" y="1918"/>
                    <a:pt x="-205" y="6667"/>
                    <a:pt x="1494" y="9599"/>
                  </a:cubicBezTo>
                  <a:cubicBezTo>
                    <a:pt x="1936" y="7461"/>
                    <a:pt x="4132" y="1681"/>
                    <a:pt x="1494" y="-12"/>
                  </a:cubicBezTo>
                  <a:close/>
                </a:path>
              </a:pathLst>
            </a:custGeom>
            <a:solidFill>
              <a:schemeClr val="bg1"/>
            </a:solidFill>
            <a:ln w="9318" cap="flat">
              <a:noFill/>
              <a:prstDash val="solid"/>
              <a:round/>
            </a:ln>
          </p:spPr>
          <p:txBody>
            <a:bodyPr rtlCol="0" anchor="ctr"/>
            <a:lstStyle/>
            <a:p>
              <a:endParaRPr lang="en-LT"/>
            </a:p>
          </p:txBody>
        </p:sp>
        <p:sp>
          <p:nvSpPr>
            <p:cNvPr id="363" name="Freeform 362">
              <a:extLst>
                <a:ext uri="{FF2B5EF4-FFF2-40B4-BE49-F238E27FC236}">
                  <a16:creationId xmlns:a16="http://schemas.microsoft.com/office/drawing/2014/main" id="{6FBCB533-CB8A-1E47-BDD6-43694C664F95}"/>
                </a:ext>
              </a:extLst>
            </p:cNvPr>
            <p:cNvSpPr/>
            <p:nvPr/>
          </p:nvSpPr>
          <p:spPr>
            <a:xfrm>
              <a:off x="6679063" y="2755625"/>
              <a:ext cx="7561" cy="36231"/>
            </a:xfrm>
            <a:custGeom>
              <a:avLst/>
              <a:gdLst>
                <a:gd name="connsiteX0" fmla="*/ 2081 w 2775"/>
                <a:gd name="connsiteY0" fmla="*/ -12 h 13297"/>
                <a:gd name="connsiteX1" fmla="*/ -31 w 2775"/>
                <a:gd name="connsiteY1" fmla="*/ 5323 h 13297"/>
                <a:gd name="connsiteX2" fmla="*/ 2081 w 2775"/>
                <a:gd name="connsiteY2" fmla="*/ -12 h 13297"/>
              </a:gdLst>
              <a:ahLst/>
              <a:cxnLst>
                <a:cxn ang="0">
                  <a:pos x="connsiteX0" y="connsiteY0"/>
                </a:cxn>
                <a:cxn ang="0">
                  <a:pos x="connsiteX1" y="connsiteY1"/>
                </a:cxn>
                <a:cxn ang="0">
                  <a:pos x="connsiteX2" y="connsiteY2"/>
                </a:cxn>
              </a:cxnLst>
              <a:rect l="l" t="t" r="r" b="b"/>
              <a:pathLst>
                <a:path w="2775" h="13297">
                  <a:moveTo>
                    <a:pt x="2081" y="-12"/>
                  </a:moveTo>
                  <a:cubicBezTo>
                    <a:pt x="1490" y="1889"/>
                    <a:pt x="1518" y="4425"/>
                    <a:pt x="-31" y="5323"/>
                  </a:cubicBezTo>
                  <a:cubicBezTo>
                    <a:pt x="-1280" y="25956"/>
                    <a:pt x="4146" y="-31"/>
                    <a:pt x="2081" y="-12"/>
                  </a:cubicBezTo>
                  <a:close/>
                </a:path>
              </a:pathLst>
            </a:custGeom>
            <a:solidFill>
              <a:schemeClr val="bg1"/>
            </a:solidFill>
            <a:ln w="9318" cap="flat">
              <a:noFill/>
              <a:prstDash val="solid"/>
              <a:round/>
            </a:ln>
          </p:spPr>
          <p:txBody>
            <a:bodyPr rtlCol="0" anchor="ctr"/>
            <a:lstStyle/>
            <a:p>
              <a:endParaRPr lang="en-LT"/>
            </a:p>
          </p:txBody>
        </p:sp>
        <p:sp>
          <p:nvSpPr>
            <p:cNvPr id="364" name="Freeform 363">
              <a:extLst>
                <a:ext uri="{FF2B5EF4-FFF2-40B4-BE49-F238E27FC236}">
                  <a16:creationId xmlns:a16="http://schemas.microsoft.com/office/drawing/2014/main" id="{020065BF-EAC7-2D4C-B104-CE62330AE507}"/>
                </a:ext>
              </a:extLst>
            </p:cNvPr>
            <p:cNvSpPr/>
            <p:nvPr/>
          </p:nvSpPr>
          <p:spPr>
            <a:xfrm>
              <a:off x="6522933" y="2775276"/>
              <a:ext cx="29948" cy="44850"/>
            </a:xfrm>
            <a:custGeom>
              <a:avLst/>
              <a:gdLst>
                <a:gd name="connsiteX0" fmla="*/ 8503 w 10991"/>
                <a:gd name="connsiteY0" fmla="*/ 16294 h 16460"/>
                <a:gd name="connsiteX1" fmla="*/ 8503 w 10991"/>
                <a:gd name="connsiteY1" fmla="*/ 1318 h 16460"/>
                <a:gd name="connsiteX2" fmla="*/ 1087 w 10991"/>
                <a:gd name="connsiteY2" fmla="*/ 15215 h 16460"/>
                <a:gd name="connsiteX3" fmla="*/ 8503 w 10991"/>
                <a:gd name="connsiteY3" fmla="*/ 16294 h 16460"/>
              </a:gdLst>
              <a:ahLst/>
              <a:cxnLst>
                <a:cxn ang="0">
                  <a:pos x="connsiteX0" y="connsiteY0"/>
                </a:cxn>
                <a:cxn ang="0">
                  <a:pos x="connsiteX1" y="connsiteY1"/>
                </a:cxn>
                <a:cxn ang="0">
                  <a:pos x="connsiteX2" y="connsiteY2"/>
                </a:cxn>
                <a:cxn ang="0">
                  <a:pos x="connsiteX3" y="connsiteY3"/>
                </a:cxn>
              </a:cxnLst>
              <a:rect l="l" t="t" r="r" b="b"/>
              <a:pathLst>
                <a:path w="10991" h="16460">
                  <a:moveTo>
                    <a:pt x="8503" y="16294"/>
                  </a:moveTo>
                  <a:cubicBezTo>
                    <a:pt x="11901" y="13730"/>
                    <a:pt x="11131" y="4071"/>
                    <a:pt x="8503" y="1318"/>
                  </a:cubicBezTo>
                  <a:cubicBezTo>
                    <a:pt x="-405" y="-4235"/>
                    <a:pt x="-1691" y="9000"/>
                    <a:pt x="1087" y="15215"/>
                  </a:cubicBezTo>
                  <a:cubicBezTo>
                    <a:pt x="3575" y="15556"/>
                    <a:pt x="5058" y="16899"/>
                    <a:pt x="8503" y="16294"/>
                  </a:cubicBezTo>
                  <a:close/>
                </a:path>
              </a:pathLst>
            </a:custGeom>
            <a:solidFill>
              <a:schemeClr val="bg1"/>
            </a:solidFill>
            <a:ln w="9318" cap="flat">
              <a:noFill/>
              <a:prstDash val="solid"/>
              <a:round/>
            </a:ln>
          </p:spPr>
          <p:txBody>
            <a:bodyPr rtlCol="0" anchor="ctr"/>
            <a:lstStyle/>
            <a:p>
              <a:endParaRPr lang="en-LT"/>
            </a:p>
          </p:txBody>
        </p:sp>
        <p:sp>
          <p:nvSpPr>
            <p:cNvPr id="365" name="Freeform 364">
              <a:extLst>
                <a:ext uri="{FF2B5EF4-FFF2-40B4-BE49-F238E27FC236}">
                  <a16:creationId xmlns:a16="http://schemas.microsoft.com/office/drawing/2014/main" id="{7CCC8CF4-A82D-4B45-8703-8E88887F5C78}"/>
                </a:ext>
              </a:extLst>
            </p:cNvPr>
            <p:cNvSpPr/>
            <p:nvPr/>
          </p:nvSpPr>
          <p:spPr>
            <a:xfrm>
              <a:off x="6408686" y="3326148"/>
              <a:ext cx="51357" cy="46218"/>
            </a:xfrm>
            <a:custGeom>
              <a:avLst/>
              <a:gdLst>
                <a:gd name="connsiteX0" fmla="*/ 18629 w 18848"/>
                <a:gd name="connsiteY0" fmla="*/ -12 h 16962"/>
                <a:gd name="connsiteX1" fmla="*/ -220 w 18848"/>
                <a:gd name="connsiteY1" fmla="*/ 16950 h 16962"/>
                <a:gd name="connsiteX2" fmla="*/ 18629 w 18848"/>
                <a:gd name="connsiteY2" fmla="*/ -12 h 16962"/>
              </a:gdLst>
              <a:ahLst/>
              <a:cxnLst>
                <a:cxn ang="0">
                  <a:pos x="connsiteX0" y="connsiteY0"/>
                </a:cxn>
                <a:cxn ang="0">
                  <a:pos x="connsiteX1" y="connsiteY1"/>
                </a:cxn>
                <a:cxn ang="0">
                  <a:pos x="connsiteX2" y="connsiteY2"/>
                </a:cxn>
              </a:cxnLst>
              <a:rect l="l" t="t" r="r" b="b"/>
              <a:pathLst>
                <a:path w="18848" h="16962">
                  <a:moveTo>
                    <a:pt x="18629" y="-12"/>
                  </a:moveTo>
                  <a:cubicBezTo>
                    <a:pt x="12349" y="4491"/>
                    <a:pt x="6097" y="10507"/>
                    <a:pt x="-220" y="16950"/>
                  </a:cubicBezTo>
                  <a:cubicBezTo>
                    <a:pt x="6867" y="11397"/>
                    <a:pt x="14978" y="6553"/>
                    <a:pt x="18629" y="-12"/>
                  </a:cubicBezTo>
                  <a:close/>
                </a:path>
              </a:pathLst>
            </a:custGeom>
            <a:solidFill>
              <a:schemeClr val="bg1"/>
            </a:solidFill>
            <a:ln w="9318" cap="flat">
              <a:noFill/>
              <a:prstDash val="solid"/>
              <a:round/>
            </a:ln>
          </p:spPr>
          <p:txBody>
            <a:bodyPr rtlCol="0" anchor="ctr"/>
            <a:lstStyle/>
            <a:p>
              <a:endParaRPr lang="en-LT"/>
            </a:p>
          </p:txBody>
        </p:sp>
        <p:sp>
          <p:nvSpPr>
            <p:cNvPr id="366" name="Freeform 365">
              <a:extLst>
                <a:ext uri="{FF2B5EF4-FFF2-40B4-BE49-F238E27FC236}">
                  <a16:creationId xmlns:a16="http://schemas.microsoft.com/office/drawing/2014/main" id="{E6AA3F88-4DF2-C040-9F82-5B0FEA90FF99}"/>
                </a:ext>
              </a:extLst>
            </p:cNvPr>
            <p:cNvSpPr/>
            <p:nvPr/>
          </p:nvSpPr>
          <p:spPr>
            <a:xfrm>
              <a:off x="6382086" y="3136945"/>
              <a:ext cx="326315" cy="285274"/>
            </a:xfrm>
            <a:custGeom>
              <a:avLst/>
              <a:gdLst>
                <a:gd name="connsiteX0" fmla="*/ -220 w 119758"/>
                <a:gd name="connsiteY0" fmla="*/ 104684 h 104696"/>
                <a:gd name="connsiteX1" fmla="*/ 119539 w 119758"/>
                <a:gd name="connsiteY1" fmla="*/ -12 h 104696"/>
                <a:gd name="connsiteX2" fmla="*/ -220 w 119758"/>
                <a:gd name="connsiteY2" fmla="*/ 104684 h 104696"/>
              </a:gdLst>
              <a:ahLst/>
              <a:cxnLst>
                <a:cxn ang="0">
                  <a:pos x="connsiteX0" y="connsiteY0"/>
                </a:cxn>
                <a:cxn ang="0">
                  <a:pos x="connsiteX1" y="connsiteY1"/>
                </a:cxn>
                <a:cxn ang="0">
                  <a:pos x="connsiteX2" y="connsiteY2"/>
                </a:cxn>
              </a:cxnLst>
              <a:rect l="l" t="t" r="r" b="b"/>
              <a:pathLst>
                <a:path w="119758" h="104696">
                  <a:moveTo>
                    <a:pt x="-220" y="104684"/>
                  </a:moveTo>
                  <a:cubicBezTo>
                    <a:pt x="35910" y="66663"/>
                    <a:pt x="81465" y="32465"/>
                    <a:pt x="119539" y="-12"/>
                  </a:cubicBezTo>
                  <a:cubicBezTo>
                    <a:pt x="77542" y="32077"/>
                    <a:pt x="32550" y="66852"/>
                    <a:pt x="-220" y="104684"/>
                  </a:cubicBezTo>
                  <a:close/>
                </a:path>
              </a:pathLst>
            </a:custGeom>
            <a:solidFill>
              <a:schemeClr val="bg1"/>
            </a:solidFill>
            <a:ln w="9318" cap="flat">
              <a:noFill/>
              <a:prstDash val="solid"/>
              <a:round/>
            </a:ln>
          </p:spPr>
          <p:txBody>
            <a:bodyPr rtlCol="0" anchor="ctr"/>
            <a:lstStyle/>
            <a:p>
              <a:endParaRPr lang="en-LT"/>
            </a:p>
          </p:txBody>
        </p:sp>
        <p:sp>
          <p:nvSpPr>
            <p:cNvPr id="367" name="Freeform 366">
              <a:extLst>
                <a:ext uri="{FF2B5EF4-FFF2-40B4-BE49-F238E27FC236}">
                  <a16:creationId xmlns:a16="http://schemas.microsoft.com/office/drawing/2014/main" id="{3598A93C-259D-3F41-AEE5-942A11C16DB3}"/>
                </a:ext>
              </a:extLst>
            </p:cNvPr>
            <p:cNvSpPr/>
            <p:nvPr/>
          </p:nvSpPr>
          <p:spPr>
            <a:xfrm>
              <a:off x="6521759" y="2856090"/>
              <a:ext cx="36613" cy="48321"/>
            </a:xfrm>
            <a:custGeom>
              <a:avLst/>
              <a:gdLst>
                <a:gd name="connsiteX0" fmla="*/ 11056 w 13437"/>
                <a:gd name="connsiteY0" fmla="*/ 17580 h 17734"/>
                <a:gd name="connsiteX1" fmla="*/ 2570 w 13437"/>
                <a:gd name="connsiteY1" fmla="*/ 16520 h 17734"/>
                <a:gd name="connsiteX2" fmla="*/ 11056 w 13437"/>
                <a:gd name="connsiteY2" fmla="*/ 17580 h 17734"/>
              </a:gdLst>
              <a:ahLst/>
              <a:cxnLst>
                <a:cxn ang="0">
                  <a:pos x="connsiteX0" y="connsiteY0"/>
                </a:cxn>
                <a:cxn ang="0">
                  <a:pos x="connsiteX1" y="connsiteY1"/>
                </a:cxn>
                <a:cxn ang="0">
                  <a:pos x="connsiteX2" y="connsiteY2"/>
                </a:cxn>
              </a:cxnLst>
              <a:rect l="l" t="t" r="r" b="b"/>
              <a:pathLst>
                <a:path w="13437" h="17734">
                  <a:moveTo>
                    <a:pt x="11056" y="17580"/>
                  </a:moveTo>
                  <a:cubicBezTo>
                    <a:pt x="21391" y="-3753"/>
                    <a:pt x="-9342" y="-7518"/>
                    <a:pt x="2570" y="16520"/>
                  </a:cubicBezTo>
                  <a:cubicBezTo>
                    <a:pt x="5114" y="17182"/>
                    <a:pt x="7404" y="18072"/>
                    <a:pt x="11056" y="17580"/>
                  </a:cubicBezTo>
                  <a:close/>
                </a:path>
              </a:pathLst>
            </a:custGeom>
            <a:solidFill>
              <a:schemeClr val="bg1"/>
            </a:solidFill>
            <a:ln w="9318" cap="flat">
              <a:noFill/>
              <a:prstDash val="solid"/>
              <a:round/>
            </a:ln>
          </p:spPr>
          <p:txBody>
            <a:bodyPr rtlCol="0" anchor="ctr"/>
            <a:lstStyle/>
            <a:p>
              <a:endParaRPr lang="en-LT"/>
            </a:p>
          </p:txBody>
        </p:sp>
        <p:sp>
          <p:nvSpPr>
            <p:cNvPr id="368" name="Freeform 367">
              <a:extLst>
                <a:ext uri="{FF2B5EF4-FFF2-40B4-BE49-F238E27FC236}">
                  <a16:creationId xmlns:a16="http://schemas.microsoft.com/office/drawing/2014/main" id="{96F82179-D01A-F747-A5BB-E72B0DD4A7CF}"/>
                </a:ext>
              </a:extLst>
            </p:cNvPr>
            <p:cNvSpPr/>
            <p:nvPr/>
          </p:nvSpPr>
          <p:spPr>
            <a:xfrm>
              <a:off x="6706273" y="2473288"/>
              <a:ext cx="13477" cy="58177"/>
            </a:xfrm>
            <a:custGeom>
              <a:avLst/>
              <a:gdLst>
                <a:gd name="connsiteX0" fmla="*/ 2693 w 4946"/>
                <a:gd name="connsiteY0" fmla="*/ -12 h 21351"/>
                <a:gd name="connsiteX1" fmla="*/ 562 w 4946"/>
                <a:gd name="connsiteY1" fmla="*/ 21339 h 21351"/>
                <a:gd name="connsiteX2" fmla="*/ 2693 w 4946"/>
                <a:gd name="connsiteY2" fmla="*/ -12 h 21351"/>
              </a:gdLst>
              <a:ahLst/>
              <a:cxnLst>
                <a:cxn ang="0">
                  <a:pos x="connsiteX0" y="connsiteY0"/>
                </a:cxn>
                <a:cxn ang="0">
                  <a:pos x="connsiteX1" y="connsiteY1"/>
                </a:cxn>
                <a:cxn ang="0">
                  <a:pos x="connsiteX2" y="connsiteY2"/>
                </a:cxn>
              </a:cxnLst>
              <a:rect l="l" t="t" r="r" b="b"/>
              <a:pathLst>
                <a:path w="4946" h="21351">
                  <a:moveTo>
                    <a:pt x="2693" y="-12"/>
                  </a:moveTo>
                  <a:cubicBezTo>
                    <a:pt x="2852" y="7282"/>
                    <a:pt x="-2085" y="15096"/>
                    <a:pt x="562" y="21339"/>
                  </a:cubicBezTo>
                  <a:cubicBezTo>
                    <a:pt x="3068" y="15162"/>
                    <a:pt x="7255" y="4169"/>
                    <a:pt x="2693" y="-12"/>
                  </a:cubicBezTo>
                  <a:close/>
                </a:path>
              </a:pathLst>
            </a:custGeom>
            <a:solidFill>
              <a:schemeClr val="bg1"/>
            </a:solidFill>
            <a:ln w="9318" cap="flat">
              <a:noFill/>
              <a:prstDash val="solid"/>
              <a:round/>
            </a:ln>
          </p:spPr>
          <p:txBody>
            <a:bodyPr rtlCol="0" anchor="ctr"/>
            <a:lstStyle/>
            <a:p>
              <a:endParaRPr lang="en-LT"/>
            </a:p>
          </p:txBody>
        </p:sp>
        <p:sp>
          <p:nvSpPr>
            <p:cNvPr id="369" name="Freeform 368">
              <a:extLst>
                <a:ext uri="{FF2B5EF4-FFF2-40B4-BE49-F238E27FC236}">
                  <a16:creationId xmlns:a16="http://schemas.microsoft.com/office/drawing/2014/main" id="{75BFF3A1-69AF-194D-A07D-F2379A58E866}"/>
                </a:ext>
              </a:extLst>
            </p:cNvPr>
            <p:cNvSpPr/>
            <p:nvPr/>
          </p:nvSpPr>
          <p:spPr>
            <a:xfrm>
              <a:off x="6512020" y="3629169"/>
              <a:ext cx="71556" cy="11390"/>
            </a:xfrm>
            <a:custGeom>
              <a:avLst/>
              <a:gdLst>
                <a:gd name="connsiteX0" fmla="*/ 15691 w 26261"/>
                <a:gd name="connsiteY0" fmla="*/ 3086 h 4180"/>
                <a:gd name="connsiteX1" fmla="*/ -220 w 26261"/>
                <a:gd name="connsiteY1" fmla="*/ 4146 h 4180"/>
                <a:gd name="connsiteX2" fmla="*/ 19915 w 26261"/>
                <a:gd name="connsiteY2" fmla="*/ 4146 h 4180"/>
                <a:gd name="connsiteX3" fmla="*/ 15691 w 26261"/>
                <a:gd name="connsiteY3" fmla="*/ 3086 h 4180"/>
              </a:gdLst>
              <a:ahLst/>
              <a:cxnLst>
                <a:cxn ang="0">
                  <a:pos x="connsiteX0" y="connsiteY0"/>
                </a:cxn>
                <a:cxn ang="0">
                  <a:pos x="connsiteX1" y="connsiteY1"/>
                </a:cxn>
                <a:cxn ang="0">
                  <a:pos x="connsiteX2" y="connsiteY2"/>
                </a:cxn>
                <a:cxn ang="0">
                  <a:pos x="connsiteX3" y="connsiteY3"/>
                </a:cxn>
              </a:cxnLst>
              <a:rect l="l" t="t" r="r" b="b"/>
              <a:pathLst>
                <a:path w="26261" h="4180">
                  <a:moveTo>
                    <a:pt x="15691" y="3086"/>
                  </a:moveTo>
                  <a:cubicBezTo>
                    <a:pt x="11561" y="731"/>
                    <a:pt x="1526" y="-2997"/>
                    <a:pt x="-220" y="4146"/>
                  </a:cubicBezTo>
                  <a:lnTo>
                    <a:pt x="19915" y="4146"/>
                  </a:lnTo>
                  <a:cubicBezTo>
                    <a:pt x="32484" y="4411"/>
                    <a:pt x="22975" y="2263"/>
                    <a:pt x="15691" y="3086"/>
                  </a:cubicBezTo>
                  <a:close/>
                </a:path>
              </a:pathLst>
            </a:custGeom>
            <a:solidFill>
              <a:schemeClr val="bg1"/>
            </a:solidFill>
            <a:ln w="9318" cap="flat">
              <a:noFill/>
              <a:prstDash val="solid"/>
              <a:round/>
            </a:ln>
          </p:spPr>
          <p:txBody>
            <a:bodyPr rtlCol="0" anchor="ctr"/>
            <a:lstStyle/>
            <a:p>
              <a:endParaRPr lang="en-LT"/>
            </a:p>
          </p:txBody>
        </p:sp>
        <p:sp>
          <p:nvSpPr>
            <p:cNvPr id="370" name="Freeform 369">
              <a:extLst>
                <a:ext uri="{FF2B5EF4-FFF2-40B4-BE49-F238E27FC236}">
                  <a16:creationId xmlns:a16="http://schemas.microsoft.com/office/drawing/2014/main" id="{3477A1F8-D2A7-B847-8AFD-843B62FB2893}"/>
                </a:ext>
              </a:extLst>
            </p:cNvPr>
            <p:cNvSpPr/>
            <p:nvPr/>
          </p:nvSpPr>
          <p:spPr>
            <a:xfrm>
              <a:off x="6528723" y="2950044"/>
              <a:ext cx="29831" cy="42242"/>
            </a:xfrm>
            <a:custGeom>
              <a:avLst/>
              <a:gdLst>
                <a:gd name="connsiteX0" fmla="*/ 8499 w 10948"/>
                <a:gd name="connsiteY0" fmla="*/ 15158 h 15503"/>
                <a:gd name="connsiteX1" fmla="*/ 7429 w 10948"/>
                <a:gd name="connsiteY1" fmla="*/ 211 h 15503"/>
                <a:gd name="connsiteX2" fmla="*/ 8499 w 10948"/>
                <a:gd name="connsiteY2" fmla="*/ 15158 h 15503"/>
              </a:gdLst>
              <a:ahLst/>
              <a:cxnLst>
                <a:cxn ang="0">
                  <a:pos x="connsiteX0" y="connsiteY0"/>
                </a:cxn>
                <a:cxn ang="0">
                  <a:pos x="connsiteX1" y="connsiteY1"/>
                </a:cxn>
                <a:cxn ang="0">
                  <a:pos x="connsiteX2" y="connsiteY2"/>
                </a:cxn>
              </a:cxnLst>
              <a:rect l="l" t="t" r="r" b="b"/>
              <a:pathLst>
                <a:path w="10948" h="15503">
                  <a:moveTo>
                    <a:pt x="8499" y="15158"/>
                  </a:moveTo>
                  <a:cubicBezTo>
                    <a:pt x="12339" y="12027"/>
                    <a:pt x="10715" y="2529"/>
                    <a:pt x="7429" y="211"/>
                  </a:cubicBezTo>
                  <a:cubicBezTo>
                    <a:pt x="-3985" y="-2371"/>
                    <a:pt x="-1789" y="18337"/>
                    <a:pt x="8499" y="15158"/>
                  </a:cubicBezTo>
                  <a:close/>
                </a:path>
              </a:pathLst>
            </a:custGeom>
            <a:solidFill>
              <a:schemeClr val="bg1"/>
            </a:solidFill>
            <a:ln w="9318" cap="flat">
              <a:noFill/>
              <a:prstDash val="solid"/>
              <a:round/>
            </a:ln>
          </p:spPr>
          <p:txBody>
            <a:bodyPr rtlCol="0" anchor="ctr"/>
            <a:lstStyle/>
            <a:p>
              <a:endParaRPr lang="en-LT"/>
            </a:p>
          </p:txBody>
        </p:sp>
        <p:sp>
          <p:nvSpPr>
            <p:cNvPr id="371" name="Freeform 370">
              <a:extLst>
                <a:ext uri="{FF2B5EF4-FFF2-40B4-BE49-F238E27FC236}">
                  <a16:creationId xmlns:a16="http://schemas.microsoft.com/office/drawing/2014/main" id="{2B6274CA-73D8-8048-B700-F3C7323A3F6D}"/>
                </a:ext>
              </a:extLst>
            </p:cNvPr>
            <p:cNvSpPr/>
            <p:nvPr/>
          </p:nvSpPr>
          <p:spPr>
            <a:xfrm>
              <a:off x="6505595" y="3544428"/>
              <a:ext cx="8343" cy="29152"/>
            </a:xfrm>
            <a:custGeom>
              <a:avLst/>
              <a:gdLst>
                <a:gd name="connsiteX0" fmla="*/ 1086 w 3062"/>
                <a:gd name="connsiteY0" fmla="*/ -12 h 10699"/>
                <a:gd name="connsiteX1" fmla="*/ 2138 w 3062"/>
                <a:gd name="connsiteY1" fmla="*/ 10687 h 10699"/>
                <a:gd name="connsiteX2" fmla="*/ 1086 w 3062"/>
                <a:gd name="connsiteY2" fmla="*/ -12 h 10699"/>
              </a:gdLst>
              <a:ahLst/>
              <a:cxnLst>
                <a:cxn ang="0">
                  <a:pos x="connsiteX0" y="connsiteY0"/>
                </a:cxn>
                <a:cxn ang="0">
                  <a:pos x="connsiteX1" y="connsiteY1"/>
                </a:cxn>
                <a:cxn ang="0">
                  <a:pos x="connsiteX2" y="connsiteY2"/>
                </a:cxn>
              </a:cxnLst>
              <a:rect l="l" t="t" r="r" b="b"/>
              <a:pathLst>
                <a:path w="3062" h="10699">
                  <a:moveTo>
                    <a:pt x="1086" y="-12"/>
                  </a:moveTo>
                  <a:cubicBezTo>
                    <a:pt x="2063" y="3469"/>
                    <a:pt x="-3035" y="9845"/>
                    <a:pt x="2138" y="10687"/>
                  </a:cubicBezTo>
                  <a:cubicBezTo>
                    <a:pt x="3809" y="9259"/>
                    <a:pt x="2119" y="2230"/>
                    <a:pt x="1086" y="-12"/>
                  </a:cubicBezTo>
                  <a:close/>
                </a:path>
              </a:pathLst>
            </a:custGeom>
            <a:solidFill>
              <a:schemeClr val="bg1"/>
            </a:solidFill>
            <a:ln w="9318" cap="flat">
              <a:noFill/>
              <a:prstDash val="solid"/>
              <a:round/>
            </a:ln>
          </p:spPr>
          <p:txBody>
            <a:bodyPr rtlCol="0" anchor="ctr"/>
            <a:lstStyle/>
            <a:p>
              <a:endParaRPr lang="en-LT"/>
            </a:p>
          </p:txBody>
        </p:sp>
        <p:sp>
          <p:nvSpPr>
            <p:cNvPr id="372" name="Freeform 371">
              <a:extLst>
                <a:ext uri="{FF2B5EF4-FFF2-40B4-BE49-F238E27FC236}">
                  <a16:creationId xmlns:a16="http://schemas.microsoft.com/office/drawing/2014/main" id="{340A3B66-BD16-4148-BD1F-A6CA2066C7DA}"/>
                </a:ext>
              </a:extLst>
            </p:cNvPr>
            <p:cNvSpPr/>
            <p:nvPr/>
          </p:nvSpPr>
          <p:spPr>
            <a:xfrm>
              <a:off x="6676687" y="3340712"/>
              <a:ext cx="17313" cy="84419"/>
            </a:xfrm>
            <a:custGeom>
              <a:avLst/>
              <a:gdLst>
                <a:gd name="connsiteX0" fmla="*/ 6135 w 6354"/>
                <a:gd name="connsiteY0" fmla="*/ 30970 h 30982"/>
                <a:gd name="connsiteX1" fmla="*/ -220 w 6354"/>
                <a:gd name="connsiteY1" fmla="*/ -12 h 30982"/>
                <a:gd name="connsiteX2" fmla="*/ 6135 w 6354"/>
                <a:gd name="connsiteY2" fmla="*/ 30970 h 30982"/>
              </a:gdLst>
              <a:ahLst/>
              <a:cxnLst>
                <a:cxn ang="0">
                  <a:pos x="connsiteX0" y="connsiteY0"/>
                </a:cxn>
                <a:cxn ang="0">
                  <a:pos x="connsiteX1" y="connsiteY1"/>
                </a:cxn>
                <a:cxn ang="0">
                  <a:pos x="connsiteX2" y="connsiteY2"/>
                </a:cxn>
              </a:cxnLst>
              <a:rect l="l" t="t" r="r" b="b"/>
              <a:pathLst>
                <a:path w="6354" h="30982">
                  <a:moveTo>
                    <a:pt x="6135" y="30970"/>
                  </a:moveTo>
                  <a:cubicBezTo>
                    <a:pt x="4258" y="20393"/>
                    <a:pt x="3563" y="8615"/>
                    <a:pt x="-220" y="-12"/>
                  </a:cubicBezTo>
                  <a:cubicBezTo>
                    <a:pt x="784" y="10716"/>
                    <a:pt x="3366" y="25559"/>
                    <a:pt x="6135" y="30970"/>
                  </a:cubicBezTo>
                  <a:close/>
                </a:path>
              </a:pathLst>
            </a:custGeom>
            <a:solidFill>
              <a:schemeClr val="bg1"/>
            </a:solidFill>
            <a:ln w="9318" cap="flat">
              <a:noFill/>
              <a:prstDash val="solid"/>
              <a:round/>
            </a:ln>
          </p:spPr>
          <p:txBody>
            <a:bodyPr rtlCol="0" anchor="ctr"/>
            <a:lstStyle/>
            <a:p>
              <a:endParaRPr lang="en-LT"/>
            </a:p>
          </p:txBody>
        </p:sp>
        <p:sp>
          <p:nvSpPr>
            <p:cNvPr id="373" name="Freeform 372">
              <a:extLst>
                <a:ext uri="{FF2B5EF4-FFF2-40B4-BE49-F238E27FC236}">
                  <a16:creationId xmlns:a16="http://schemas.microsoft.com/office/drawing/2014/main" id="{3421CEDB-9EE9-5746-BE8C-4B8C8A9CE3FA}"/>
                </a:ext>
              </a:extLst>
            </p:cNvPr>
            <p:cNvSpPr/>
            <p:nvPr/>
          </p:nvSpPr>
          <p:spPr>
            <a:xfrm>
              <a:off x="6740068" y="3489161"/>
              <a:ext cx="9158" cy="69855"/>
            </a:xfrm>
            <a:custGeom>
              <a:avLst/>
              <a:gdLst>
                <a:gd name="connsiteX0" fmla="*/ 887 w 3361"/>
                <a:gd name="connsiteY0" fmla="*/ 25625 h 25637"/>
                <a:gd name="connsiteX1" fmla="*/ -174 w 3361"/>
                <a:gd name="connsiteY1" fmla="*/ -12 h 25637"/>
                <a:gd name="connsiteX2" fmla="*/ 887 w 3361"/>
                <a:gd name="connsiteY2" fmla="*/ 25625 h 25637"/>
              </a:gdLst>
              <a:ahLst/>
              <a:cxnLst>
                <a:cxn ang="0">
                  <a:pos x="connsiteX0" y="connsiteY0"/>
                </a:cxn>
                <a:cxn ang="0">
                  <a:pos x="connsiteX1" y="connsiteY1"/>
                </a:cxn>
                <a:cxn ang="0">
                  <a:pos x="connsiteX2" y="connsiteY2"/>
                </a:cxn>
              </a:cxnLst>
              <a:rect l="l" t="t" r="r" b="b"/>
              <a:pathLst>
                <a:path w="3361" h="25637">
                  <a:moveTo>
                    <a:pt x="887" y="25625"/>
                  </a:moveTo>
                  <a:cubicBezTo>
                    <a:pt x="6003" y="19883"/>
                    <a:pt x="972" y="6468"/>
                    <a:pt x="-174" y="-12"/>
                  </a:cubicBezTo>
                  <a:cubicBezTo>
                    <a:pt x="-568" y="9297"/>
                    <a:pt x="1704" y="15871"/>
                    <a:pt x="887" y="25625"/>
                  </a:cubicBezTo>
                  <a:close/>
                </a:path>
              </a:pathLst>
            </a:custGeom>
            <a:solidFill>
              <a:schemeClr val="bg1"/>
            </a:solidFill>
            <a:ln w="9318" cap="flat">
              <a:noFill/>
              <a:prstDash val="solid"/>
              <a:round/>
            </a:ln>
          </p:spPr>
          <p:txBody>
            <a:bodyPr rtlCol="0" anchor="ctr"/>
            <a:lstStyle/>
            <a:p>
              <a:endParaRPr lang="en-LT"/>
            </a:p>
          </p:txBody>
        </p:sp>
        <p:sp>
          <p:nvSpPr>
            <p:cNvPr id="374" name="Freeform 373">
              <a:extLst>
                <a:ext uri="{FF2B5EF4-FFF2-40B4-BE49-F238E27FC236}">
                  <a16:creationId xmlns:a16="http://schemas.microsoft.com/office/drawing/2014/main" id="{39F33E46-D991-4546-AB3E-B5F774E8668A}"/>
                </a:ext>
              </a:extLst>
            </p:cNvPr>
            <p:cNvSpPr/>
            <p:nvPr/>
          </p:nvSpPr>
          <p:spPr>
            <a:xfrm>
              <a:off x="6616017" y="2021920"/>
              <a:ext cx="29139" cy="125288"/>
            </a:xfrm>
            <a:custGeom>
              <a:avLst/>
              <a:gdLst>
                <a:gd name="connsiteX0" fmla="*/ 5084 w 10694"/>
                <a:gd name="connsiteY0" fmla="*/ 39565 h 45981"/>
                <a:gd name="connsiteX1" fmla="*/ 9317 w 10694"/>
                <a:gd name="connsiteY1" fmla="*/ 45969 h 45981"/>
                <a:gd name="connsiteX2" fmla="*/ 10368 w 10694"/>
                <a:gd name="connsiteY2" fmla="*/ 1118 h 45981"/>
                <a:gd name="connsiteX3" fmla="*/ -220 w 10694"/>
                <a:gd name="connsiteY3" fmla="*/ 49 h 45981"/>
                <a:gd name="connsiteX4" fmla="*/ 8256 w 10694"/>
                <a:gd name="connsiteY4" fmla="*/ 36367 h 45981"/>
                <a:gd name="connsiteX5" fmla="*/ 5084 w 10694"/>
                <a:gd name="connsiteY5" fmla="*/ 39565 h 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4" h="45981">
                  <a:moveTo>
                    <a:pt x="5084" y="39565"/>
                  </a:moveTo>
                  <a:cubicBezTo>
                    <a:pt x="6341" y="41844"/>
                    <a:pt x="6370" y="45392"/>
                    <a:pt x="9317" y="45969"/>
                  </a:cubicBezTo>
                  <a:cubicBezTo>
                    <a:pt x="11410" y="32801"/>
                    <a:pt x="9937" y="15990"/>
                    <a:pt x="10368" y="1118"/>
                  </a:cubicBezTo>
                  <a:cubicBezTo>
                    <a:pt x="8378" y="-764"/>
                    <a:pt x="3366" y="343"/>
                    <a:pt x="-220" y="49"/>
                  </a:cubicBezTo>
                  <a:cubicBezTo>
                    <a:pt x="3103" y="11657"/>
                    <a:pt x="3563" y="26159"/>
                    <a:pt x="8256" y="36367"/>
                  </a:cubicBezTo>
                  <a:cubicBezTo>
                    <a:pt x="8679" y="38931"/>
                    <a:pt x="3422" y="35790"/>
                    <a:pt x="5084" y="39565"/>
                  </a:cubicBezTo>
                  <a:close/>
                </a:path>
              </a:pathLst>
            </a:custGeom>
            <a:solidFill>
              <a:schemeClr val="bg1"/>
            </a:solidFill>
            <a:ln w="9318" cap="flat">
              <a:noFill/>
              <a:prstDash val="solid"/>
              <a:round/>
            </a:ln>
          </p:spPr>
          <p:txBody>
            <a:bodyPr rtlCol="0" anchor="ctr"/>
            <a:lstStyle/>
            <a:p>
              <a:endParaRPr lang="en-LT"/>
            </a:p>
          </p:txBody>
        </p:sp>
        <p:sp>
          <p:nvSpPr>
            <p:cNvPr id="375" name="Freeform 374">
              <a:extLst>
                <a:ext uri="{FF2B5EF4-FFF2-40B4-BE49-F238E27FC236}">
                  <a16:creationId xmlns:a16="http://schemas.microsoft.com/office/drawing/2014/main" id="{329B40A5-2E62-AC43-A73A-B55F0C388190}"/>
                </a:ext>
              </a:extLst>
            </p:cNvPr>
            <p:cNvSpPr/>
            <p:nvPr/>
          </p:nvSpPr>
          <p:spPr>
            <a:xfrm>
              <a:off x="6605769" y="2025002"/>
              <a:ext cx="21809" cy="87332"/>
            </a:xfrm>
            <a:custGeom>
              <a:avLst/>
              <a:gdLst>
                <a:gd name="connsiteX0" fmla="*/ 1411 w 8004"/>
                <a:gd name="connsiteY0" fmla="*/ -12 h 32051"/>
                <a:gd name="connsiteX1" fmla="*/ 7784 w 8004"/>
                <a:gd name="connsiteY1" fmla="*/ 32039 h 32051"/>
                <a:gd name="connsiteX2" fmla="*/ 1411 w 8004"/>
                <a:gd name="connsiteY2" fmla="*/ -12 h 32051"/>
              </a:gdLst>
              <a:ahLst/>
              <a:cxnLst>
                <a:cxn ang="0">
                  <a:pos x="connsiteX0" y="connsiteY0"/>
                </a:cxn>
                <a:cxn ang="0">
                  <a:pos x="connsiteX1" y="connsiteY1"/>
                </a:cxn>
                <a:cxn ang="0">
                  <a:pos x="connsiteX2" y="connsiteY2"/>
                </a:cxn>
              </a:cxnLst>
              <a:rect l="l" t="t" r="r" b="b"/>
              <a:pathLst>
                <a:path w="8004" h="32051">
                  <a:moveTo>
                    <a:pt x="1411" y="-12"/>
                  </a:moveTo>
                  <a:cubicBezTo>
                    <a:pt x="-3058" y="9420"/>
                    <a:pt x="2518" y="25474"/>
                    <a:pt x="7784" y="32039"/>
                  </a:cubicBezTo>
                  <a:cubicBezTo>
                    <a:pt x="7521" y="19476"/>
                    <a:pt x="5024" y="9183"/>
                    <a:pt x="1411" y="-12"/>
                  </a:cubicBezTo>
                  <a:close/>
                </a:path>
              </a:pathLst>
            </a:custGeom>
            <a:solidFill>
              <a:schemeClr val="bg1"/>
            </a:solidFill>
            <a:ln w="9318" cap="flat">
              <a:noFill/>
              <a:prstDash val="solid"/>
              <a:round/>
            </a:ln>
          </p:spPr>
          <p:txBody>
            <a:bodyPr rtlCol="0" anchor="ctr"/>
            <a:lstStyle/>
            <a:p>
              <a:endParaRPr lang="en-LT"/>
            </a:p>
          </p:txBody>
        </p:sp>
        <p:sp>
          <p:nvSpPr>
            <p:cNvPr id="376" name="Freeform 375">
              <a:extLst>
                <a:ext uri="{FF2B5EF4-FFF2-40B4-BE49-F238E27FC236}">
                  <a16:creationId xmlns:a16="http://schemas.microsoft.com/office/drawing/2014/main" id="{81E436A4-5BD6-F745-BE8B-24E31F3BA187}"/>
                </a:ext>
              </a:extLst>
            </p:cNvPr>
            <p:cNvSpPr/>
            <p:nvPr/>
          </p:nvSpPr>
          <p:spPr>
            <a:xfrm>
              <a:off x="6393582" y="2031792"/>
              <a:ext cx="167569" cy="229015"/>
            </a:xfrm>
            <a:custGeom>
              <a:avLst/>
              <a:gdLst>
                <a:gd name="connsiteX0" fmla="*/ 44307 w 61498"/>
                <a:gd name="connsiteY0" fmla="*/ 22073 h 84049"/>
                <a:gd name="connsiteX1" fmla="*/ 26284 w 61498"/>
                <a:gd name="connsiteY1" fmla="*/ 28477 h 84049"/>
                <a:gd name="connsiteX2" fmla="*/ 47480 w 61498"/>
                <a:gd name="connsiteY2" fmla="*/ 19935 h 84049"/>
                <a:gd name="connsiteX3" fmla="*/ 61279 w 61498"/>
                <a:gd name="connsiteY3" fmla="*/ 3900 h 84049"/>
                <a:gd name="connsiteX4" fmla="*/ 2967 w 61498"/>
                <a:gd name="connsiteY4" fmla="*/ 84037 h 84049"/>
                <a:gd name="connsiteX5" fmla="*/ 44307 w 61498"/>
                <a:gd name="connsiteY5" fmla="*/ 22073 h 8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98" h="84049">
                  <a:moveTo>
                    <a:pt x="44307" y="22073"/>
                  </a:moveTo>
                  <a:cubicBezTo>
                    <a:pt x="37098" y="22281"/>
                    <a:pt x="28772" y="27058"/>
                    <a:pt x="26284" y="28477"/>
                  </a:cubicBezTo>
                  <a:cubicBezTo>
                    <a:pt x="31616" y="23870"/>
                    <a:pt x="36075" y="18383"/>
                    <a:pt x="47480" y="19935"/>
                  </a:cubicBezTo>
                  <a:cubicBezTo>
                    <a:pt x="50868" y="13370"/>
                    <a:pt x="57158" y="9737"/>
                    <a:pt x="61279" y="3900"/>
                  </a:cubicBezTo>
                  <a:cubicBezTo>
                    <a:pt x="17263" y="-15087"/>
                    <a:pt x="-9846" y="38827"/>
                    <a:pt x="2967" y="84037"/>
                  </a:cubicBezTo>
                  <a:cubicBezTo>
                    <a:pt x="16099" y="62704"/>
                    <a:pt x="28509" y="40681"/>
                    <a:pt x="44307" y="22073"/>
                  </a:cubicBezTo>
                  <a:close/>
                </a:path>
              </a:pathLst>
            </a:custGeom>
            <a:solidFill>
              <a:schemeClr val="bg1"/>
            </a:solidFill>
            <a:ln w="9318" cap="flat">
              <a:noFill/>
              <a:prstDash val="solid"/>
              <a:round/>
            </a:ln>
          </p:spPr>
          <p:txBody>
            <a:bodyPr rtlCol="0" anchor="ctr"/>
            <a:lstStyle/>
            <a:p>
              <a:endParaRPr lang="en-LT"/>
            </a:p>
          </p:txBody>
        </p:sp>
        <p:sp>
          <p:nvSpPr>
            <p:cNvPr id="377" name="Freeform 376">
              <a:extLst>
                <a:ext uri="{FF2B5EF4-FFF2-40B4-BE49-F238E27FC236}">
                  <a16:creationId xmlns:a16="http://schemas.microsoft.com/office/drawing/2014/main" id="{7A552414-CE09-2441-AC3D-60ED4D07151D}"/>
                </a:ext>
              </a:extLst>
            </p:cNvPr>
            <p:cNvSpPr/>
            <p:nvPr/>
          </p:nvSpPr>
          <p:spPr>
            <a:xfrm>
              <a:off x="6647785" y="2027915"/>
              <a:ext cx="48741" cy="142648"/>
            </a:xfrm>
            <a:custGeom>
              <a:avLst/>
              <a:gdLst>
                <a:gd name="connsiteX0" fmla="*/ 2962 w 17888"/>
                <a:gd name="connsiteY0" fmla="*/ 52341 h 52352"/>
                <a:gd name="connsiteX1" fmla="*/ 9317 w 17888"/>
                <a:gd name="connsiteY1" fmla="*/ 7461 h 52352"/>
                <a:gd name="connsiteX2" fmla="*/ 6154 w 17888"/>
                <a:gd name="connsiteY2" fmla="*/ 49133 h 52352"/>
                <a:gd name="connsiteX3" fmla="*/ -220 w 17888"/>
                <a:gd name="connsiteY3" fmla="*/ -12 h 52352"/>
                <a:gd name="connsiteX4" fmla="*/ 2962 w 17888"/>
                <a:gd name="connsiteY4" fmla="*/ 52341 h 5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8" h="52352">
                  <a:moveTo>
                    <a:pt x="2962" y="52341"/>
                  </a:moveTo>
                  <a:cubicBezTo>
                    <a:pt x="8069" y="40383"/>
                    <a:pt x="5572" y="20772"/>
                    <a:pt x="9317" y="7461"/>
                  </a:cubicBezTo>
                  <a:cubicBezTo>
                    <a:pt x="10040" y="23165"/>
                    <a:pt x="8735" y="36788"/>
                    <a:pt x="6154" y="49133"/>
                  </a:cubicBezTo>
                  <a:cubicBezTo>
                    <a:pt x="25378" y="41405"/>
                    <a:pt x="18657" y="2258"/>
                    <a:pt x="-220" y="-12"/>
                  </a:cubicBezTo>
                  <a:cubicBezTo>
                    <a:pt x="4624" y="15900"/>
                    <a:pt x="-4472" y="44120"/>
                    <a:pt x="2962" y="52341"/>
                  </a:cubicBezTo>
                  <a:close/>
                </a:path>
              </a:pathLst>
            </a:custGeom>
            <a:solidFill>
              <a:schemeClr val="bg1"/>
            </a:solidFill>
            <a:ln w="9318" cap="flat">
              <a:noFill/>
              <a:prstDash val="solid"/>
              <a:round/>
            </a:ln>
          </p:spPr>
          <p:txBody>
            <a:bodyPr rtlCol="0" anchor="ctr"/>
            <a:lstStyle/>
            <a:p>
              <a:endParaRPr lang="en-LT"/>
            </a:p>
          </p:txBody>
        </p:sp>
        <p:sp>
          <p:nvSpPr>
            <p:cNvPr id="378" name="Freeform 377">
              <a:extLst>
                <a:ext uri="{FF2B5EF4-FFF2-40B4-BE49-F238E27FC236}">
                  <a16:creationId xmlns:a16="http://schemas.microsoft.com/office/drawing/2014/main" id="{CB531337-EE4D-674E-92A3-3766D18F4DC9}"/>
                </a:ext>
              </a:extLst>
            </p:cNvPr>
            <p:cNvSpPr/>
            <p:nvPr/>
          </p:nvSpPr>
          <p:spPr>
            <a:xfrm>
              <a:off x="6593614" y="2033740"/>
              <a:ext cx="8390" cy="26215"/>
            </a:xfrm>
            <a:custGeom>
              <a:avLst/>
              <a:gdLst>
                <a:gd name="connsiteX0" fmla="*/ 1647 w 3079"/>
                <a:gd name="connsiteY0" fmla="*/ -12 h 9621"/>
                <a:gd name="connsiteX1" fmla="*/ 2698 w 3079"/>
                <a:gd name="connsiteY1" fmla="*/ 9609 h 9621"/>
                <a:gd name="connsiteX2" fmla="*/ 1647 w 3079"/>
                <a:gd name="connsiteY2" fmla="*/ -12 h 9621"/>
              </a:gdLst>
              <a:ahLst/>
              <a:cxnLst>
                <a:cxn ang="0">
                  <a:pos x="connsiteX0" y="connsiteY0"/>
                </a:cxn>
                <a:cxn ang="0">
                  <a:pos x="connsiteX1" y="connsiteY1"/>
                </a:cxn>
                <a:cxn ang="0">
                  <a:pos x="connsiteX2" y="connsiteY2"/>
                </a:cxn>
              </a:cxnLst>
              <a:rect l="l" t="t" r="r" b="b"/>
              <a:pathLst>
                <a:path w="3079" h="9621">
                  <a:moveTo>
                    <a:pt x="1647" y="-12"/>
                  </a:moveTo>
                  <a:cubicBezTo>
                    <a:pt x="-1788" y="2419"/>
                    <a:pt x="89" y="7452"/>
                    <a:pt x="2698" y="9609"/>
                  </a:cubicBezTo>
                  <a:cubicBezTo>
                    <a:pt x="2032" y="6704"/>
                    <a:pt x="4041" y="1123"/>
                    <a:pt x="1647" y="-12"/>
                  </a:cubicBezTo>
                  <a:close/>
                </a:path>
              </a:pathLst>
            </a:custGeom>
            <a:solidFill>
              <a:schemeClr val="bg1"/>
            </a:solidFill>
            <a:ln w="9318" cap="flat">
              <a:noFill/>
              <a:prstDash val="solid"/>
              <a:round/>
            </a:ln>
          </p:spPr>
          <p:txBody>
            <a:bodyPr rtlCol="0" anchor="ctr"/>
            <a:lstStyle/>
            <a:p>
              <a:endParaRPr lang="en-LT"/>
            </a:p>
          </p:txBody>
        </p:sp>
        <p:sp>
          <p:nvSpPr>
            <p:cNvPr id="379" name="Freeform 378">
              <a:extLst>
                <a:ext uri="{FF2B5EF4-FFF2-40B4-BE49-F238E27FC236}">
                  <a16:creationId xmlns:a16="http://schemas.microsoft.com/office/drawing/2014/main" id="{8E08DD7B-AB1E-3B49-A1E0-9191E9B8E7BE}"/>
                </a:ext>
              </a:extLst>
            </p:cNvPr>
            <p:cNvSpPr/>
            <p:nvPr/>
          </p:nvSpPr>
          <p:spPr>
            <a:xfrm>
              <a:off x="6409443" y="2045367"/>
              <a:ext cx="166135" cy="250345"/>
            </a:xfrm>
            <a:custGeom>
              <a:avLst/>
              <a:gdLst>
                <a:gd name="connsiteX0" fmla="*/ 10926 w 60972"/>
                <a:gd name="connsiteY0" fmla="*/ 59814 h 91877"/>
                <a:gd name="connsiteX1" fmla="*/ 4562 w 60972"/>
                <a:gd name="connsiteY1" fmla="*/ 91865 h 91877"/>
                <a:gd name="connsiteX2" fmla="*/ 60752 w 60972"/>
                <a:gd name="connsiteY2" fmla="*/ 3204 h 91877"/>
                <a:gd name="connsiteX3" fmla="*/ 55458 w 60972"/>
                <a:gd name="connsiteY3" fmla="*/ -12 h 91877"/>
                <a:gd name="connsiteX4" fmla="*/ 10926 w 60972"/>
                <a:gd name="connsiteY4" fmla="*/ 59814 h 91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72" h="91877">
                  <a:moveTo>
                    <a:pt x="10926" y="59814"/>
                  </a:moveTo>
                  <a:cubicBezTo>
                    <a:pt x="4121" y="71270"/>
                    <a:pt x="-6468" y="83408"/>
                    <a:pt x="4562" y="91865"/>
                  </a:cubicBezTo>
                  <a:cubicBezTo>
                    <a:pt x="19769" y="59474"/>
                    <a:pt x="45790" y="32285"/>
                    <a:pt x="60752" y="3204"/>
                  </a:cubicBezTo>
                  <a:cubicBezTo>
                    <a:pt x="60020" y="1085"/>
                    <a:pt x="57927" y="357"/>
                    <a:pt x="55458" y="-12"/>
                  </a:cubicBezTo>
                  <a:cubicBezTo>
                    <a:pt x="41218" y="15616"/>
                    <a:pt x="24378" y="37157"/>
                    <a:pt x="10926" y="59814"/>
                  </a:cubicBezTo>
                  <a:close/>
                </a:path>
              </a:pathLst>
            </a:custGeom>
            <a:solidFill>
              <a:schemeClr val="bg1"/>
            </a:solidFill>
            <a:ln w="9318" cap="flat">
              <a:noFill/>
              <a:prstDash val="solid"/>
              <a:round/>
            </a:ln>
          </p:spPr>
          <p:txBody>
            <a:bodyPr rtlCol="0" anchor="ctr"/>
            <a:lstStyle/>
            <a:p>
              <a:endParaRPr lang="en-LT"/>
            </a:p>
          </p:txBody>
        </p:sp>
        <p:sp>
          <p:nvSpPr>
            <p:cNvPr id="380" name="Freeform 379">
              <a:extLst>
                <a:ext uri="{FF2B5EF4-FFF2-40B4-BE49-F238E27FC236}">
                  <a16:creationId xmlns:a16="http://schemas.microsoft.com/office/drawing/2014/main" id="{0E2CCD30-B310-2242-A394-DE542E96C7D5}"/>
                </a:ext>
              </a:extLst>
            </p:cNvPr>
            <p:cNvSpPr/>
            <p:nvPr/>
          </p:nvSpPr>
          <p:spPr>
            <a:xfrm>
              <a:off x="6427939" y="2062893"/>
              <a:ext cx="209277" cy="346878"/>
            </a:xfrm>
            <a:custGeom>
              <a:avLst/>
              <a:gdLst>
                <a:gd name="connsiteX0" fmla="*/ -104 w 76805"/>
                <a:gd name="connsiteY0" fmla="*/ 90777 h 127305"/>
                <a:gd name="connsiteX1" fmla="*/ 60310 w 76805"/>
                <a:gd name="connsiteY1" fmla="*/ 10659 h 127305"/>
                <a:gd name="connsiteX2" fmla="*/ 13676 w 76805"/>
                <a:gd name="connsiteY2" fmla="*/ 77959 h 127305"/>
                <a:gd name="connsiteX3" fmla="*/ 11564 w 76805"/>
                <a:gd name="connsiteY3" fmla="*/ 76890 h 127305"/>
                <a:gd name="connsiteX4" fmla="*/ 2017 w 76805"/>
                <a:gd name="connsiteY4" fmla="*/ 98251 h 127305"/>
                <a:gd name="connsiteX5" fmla="*/ 15797 w 76805"/>
                <a:gd name="connsiteY5" fmla="*/ 79018 h 127305"/>
                <a:gd name="connsiteX6" fmla="*/ 17928 w 76805"/>
                <a:gd name="connsiteY6" fmla="*/ 80097 h 127305"/>
                <a:gd name="connsiteX7" fmla="*/ 60310 w 76805"/>
                <a:gd name="connsiteY7" fmla="*/ 22399 h 127305"/>
                <a:gd name="connsiteX8" fmla="*/ 56077 w 76805"/>
                <a:gd name="connsiteY8" fmla="*/ 32011 h 127305"/>
                <a:gd name="connsiteX9" fmla="*/ 59259 w 76805"/>
                <a:gd name="connsiteY9" fmla="*/ 33098 h 127305"/>
                <a:gd name="connsiteX10" fmla="*/ 7330 w 76805"/>
                <a:gd name="connsiteY10" fmla="*/ 110010 h 127305"/>
                <a:gd name="connsiteX11" fmla="*/ 29587 w 76805"/>
                <a:gd name="connsiteY11" fmla="*/ 127095 h 127305"/>
                <a:gd name="connsiteX12" fmla="*/ 67735 w 76805"/>
                <a:gd name="connsiteY12" fmla="*/ 29873 h 127305"/>
                <a:gd name="connsiteX13" fmla="*/ 57147 w 76805"/>
                <a:gd name="connsiteY13" fmla="*/ -12 h 127305"/>
                <a:gd name="connsiteX14" fmla="*/ 11564 w 76805"/>
                <a:gd name="connsiteY14" fmla="*/ 66209 h 127305"/>
                <a:gd name="connsiteX15" fmla="*/ -104 w 76805"/>
                <a:gd name="connsiteY15" fmla="*/ 90777 h 12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05" h="127305">
                  <a:moveTo>
                    <a:pt x="-104" y="90777"/>
                  </a:moveTo>
                  <a:cubicBezTo>
                    <a:pt x="19130" y="63154"/>
                    <a:pt x="37068" y="34215"/>
                    <a:pt x="60310" y="10659"/>
                  </a:cubicBezTo>
                  <a:cubicBezTo>
                    <a:pt x="45976" y="33647"/>
                    <a:pt x="22678" y="53116"/>
                    <a:pt x="13676" y="77959"/>
                  </a:cubicBezTo>
                  <a:cubicBezTo>
                    <a:pt x="13741" y="75963"/>
                    <a:pt x="12869" y="75698"/>
                    <a:pt x="11564" y="76890"/>
                  </a:cubicBezTo>
                  <a:cubicBezTo>
                    <a:pt x="9386" y="85026"/>
                    <a:pt x="2073" y="87977"/>
                    <a:pt x="2017" y="98251"/>
                  </a:cubicBezTo>
                  <a:cubicBezTo>
                    <a:pt x="8588" y="93975"/>
                    <a:pt x="14549" y="85309"/>
                    <a:pt x="15797" y="79018"/>
                  </a:cubicBezTo>
                  <a:cubicBezTo>
                    <a:pt x="15750" y="81014"/>
                    <a:pt x="16614" y="81289"/>
                    <a:pt x="17928" y="80097"/>
                  </a:cubicBezTo>
                  <a:cubicBezTo>
                    <a:pt x="29521" y="58319"/>
                    <a:pt x="47901" y="43363"/>
                    <a:pt x="60310" y="22399"/>
                  </a:cubicBezTo>
                  <a:cubicBezTo>
                    <a:pt x="59672" y="26363"/>
                    <a:pt x="57335" y="28662"/>
                    <a:pt x="56077" y="32011"/>
                  </a:cubicBezTo>
                  <a:cubicBezTo>
                    <a:pt x="55767" y="35359"/>
                    <a:pt x="59137" y="29305"/>
                    <a:pt x="59259" y="33098"/>
                  </a:cubicBezTo>
                  <a:cubicBezTo>
                    <a:pt x="43921" y="60713"/>
                    <a:pt x="20725" y="80428"/>
                    <a:pt x="7330" y="110010"/>
                  </a:cubicBezTo>
                  <a:cubicBezTo>
                    <a:pt x="13122" y="120170"/>
                    <a:pt x="18501" y="125913"/>
                    <a:pt x="29587" y="127095"/>
                  </a:cubicBezTo>
                  <a:cubicBezTo>
                    <a:pt x="70213" y="131466"/>
                    <a:pt x="89016" y="62378"/>
                    <a:pt x="67735" y="29873"/>
                  </a:cubicBezTo>
                  <a:cubicBezTo>
                    <a:pt x="66628" y="17470"/>
                    <a:pt x="61577" y="9041"/>
                    <a:pt x="57147" y="-12"/>
                  </a:cubicBezTo>
                  <a:cubicBezTo>
                    <a:pt x="39969" y="19627"/>
                    <a:pt x="25212" y="43770"/>
                    <a:pt x="11564" y="66209"/>
                  </a:cubicBezTo>
                  <a:cubicBezTo>
                    <a:pt x="6880" y="73900"/>
                    <a:pt x="-1287" y="81014"/>
                    <a:pt x="-104" y="90777"/>
                  </a:cubicBezTo>
                  <a:close/>
                </a:path>
              </a:pathLst>
            </a:custGeom>
            <a:solidFill>
              <a:schemeClr val="bg1"/>
            </a:solidFill>
            <a:ln w="9318" cap="flat">
              <a:noFill/>
              <a:prstDash val="solid"/>
              <a:round/>
            </a:ln>
          </p:spPr>
          <p:txBody>
            <a:bodyPr rtlCol="0" anchor="ctr"/>
            <a:lstStyle/>
            <a:p>
              <a:endParaRPr lang="en-LT"/>
            </a:p>
          </p:txBody>
        </p:sp>
        <p:sp>
          <p:nvSpPr>
            <p:cNvPr id="381" name="Freeform 380">
              <a:extLst>
                <a:ext uri="{FF2B5EF4-FFF2-40B4-BE49-F238E27FC236}">
                  <a16:creationId xmlns:a16="http://schemas.microsoft.com/office/drawing/2014/main" id="{27A7D9A3-2F88-CF49-9D9C-89E26F0A358A}"/>
                </a:ext>
              </a:extLst>
            </p:cNvPr>
            <p:cNvSpPr/>
            <p:nvPr/>
          </p:nvSpPr>
          <p:spPr>
            <a:xfrm>
              <a:off x="6517036" y="2470351"/>
              <a:ext cx="9060" cy="37815"/>
            </a:xfrm>
            <a:custGeom>
              <a:avLst/>
              <a:gdLst>
                <a:gd name="connsiteX0" fmla="*/ 2172 w 3325"/>
                <a:gd name="connsiteY0" fmla="*/ 13866 h 13878"/>
                <a:gd name="connsiteX1" fmla="*/ 50 w 3325"/>
                <a:gd name="connsiteY1" fmla="*/ -12 h 13878"/>
                <a:gd name="connsiteX2" fmla="*/ 2172 w 3325"/>
                <a:gd name="connsiteY2" fmla="*/ 13866 h 13878"/>
              </a:gdLst>
              <a:ahLst/>
              <a:cxnLst>
                <a:cxn ang="0">
                  <a:pos x="connsiteX0" y="connsiteY0"/>
                </a:cxn>
                <a:cxn ang="0">
                  <a:pos x="connsiteX1" y="connsiteY1"/>
                </a:cxn>
                <a:cxn ang="0">
                  <a:pos x="connsiteX2" y="connsiteY2"/>
                </a:cxn>
              </a:cxnLst>
              <a:rect l="l" t="t" r="r" b="b"/>
              <a:pathLst>
                <a:path w="3325" h="13878">
                  <a:moveTo>
                    <a:pt x="2172" y="13866"/>
                  </a:moveTo>
                  <a:cubicBezTo>
                    <a:pt x="4753" y="10176"/>
                    <a:pt x="1299" y="3412"/>
                    <a:pt x="50" y="-12"/>
                  </a:cubicBezTo>
                  <a:cubicBezTo>
                    <a:pt x="1205" y="4169"/>
                    <a:pt x="-2400" y="13137"/>
                    <a:pt x="2172" y="13866"/>
                  </a:cubicBezTo>
                  <a:close/>
                </a:path>
              </a:pathLst>
            </a:custGeom>
            <a:solidFill>
              <a:schemeClr val="bg1"/>
            </a:solidFill>
            <a:ln w="9318" cap="flat">
              <a:noFill/>
              <a:prstDash val="solid"/>
              <a:round/>
            </a:ln>
          </p:spPr>
          <p:txBody>
            <a:bodyPr rtlCol="0" anchor="ctr"/>
            <a:lstStyle/>
            <a:p>
              <a:endParaRPr lang="en-LT"/>
            </a:p>
          </p:txBody>
        </p:sp>
        <p:sp>
          <p:nvSpPr>
            <p:cNvPr id="382" name="Freeform 381">
              <a:extLst>
                <a:ext uri="{FF2B5EF4-FFF2-40B4-BE49-F238E27FC236}">
                  <a16:creationId xmlns:a16="http://schemas.microsoft.com/office/drawing/2014/main" id="{FE3A2C0C-2DA4-7A4B-A466-DE882BC56E6B}"/>
                </a:ext>
              </a:extLst>
            </p:cNvPr>
            <p:cNvSpPr/>
            <p:nvPr/>
          </p:nvSpPr>
          <p:spPr>
            <a:xfrm>
              <a:off x="6506265" y="3124814"/>
              <a:ext cx="75068" cy="12128"/>
            </a:xfrm>
            <a:custGeom>
              <a:avLst/>
              <a:gdLst>
                <a:gd name="connsiteX0" fmla="*/ 1892 w 27550"/>
                <a:gd name="connsiteY0" fmla="*/ 4440 h 4451"/>
                <a:gd name="connsiteX1" fmla="*/ 23107 w 27550"/>
                <a:gd name="connsiteY1" fmla="*/ 2302 h 4451"/>
                <a:gd name="connsiteX2" fmla="*/ 27331 w 27550"/>
                <a:gd name="connsiteY2" fmla="*/ 2302 h 4451"/>
                <a:gd name="connsiteX3" fmla="*/ 23107 w 27550"/>
                <a:gd name="connsiteY3" fmla="*/ 1233 h 4451"/>
                <a:gd name="connsiteX4" fmla="*/ -220 w 27550"/>
                <a:gd name="connsiteY4" fmla="*/ 2302 h 4451"/>
                <a:gd name="connsiteX5" fmla="*/ 1892 w 27550"/>
                <a:gd name="connsiteY5" fmla="*/ 4440 h 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50" h="4451">
                  <a:moveTo>
                    <a:pt x="1892" y="4440"/>
                  </a:moveTo>
                  <a:cubicBezTo>
                    <a:pt x="7036" y="1791"/>
                    <a:pt x="17700" y="4714"/>
                    <a:pt x="23107" y="2302"/>
                  </a:cubicBezTo>
                  <a:lnTo>
                    <a:pt x="27331" y="2302"/>
                  </a:lnTo>
                  <a:cubicBezTo>
                    <a:pt x="27124" y="722"/>
                    <a:pt x="24777" y="1327"/>
                    <a:pt x="23107" y="1233"/>
                  </a:cubicBezTo>
                  <a:cubicBezTo>
                    <a:pt x="14827" y="3276"/>
                    <a:pt x="4549" y="-3289"/>
                    <a:pt x="-220" y="2302"/>
                  </a:cubicBezTo>
                  <a:cubicBezTo>
                    <a:pt x="15" y="3494"/>
                    <a:pt x="963" y="3957"/>
                    <a:pt x="1892" y="4440"/>
                  </a:cubicBezTo>
                  <a:close/>
                </a:path>
              </a:pathLst>
            </a:custGeom>
            <a:solidFill>
              <a:schemeClr val="bg1"/>
            </a:solidFill>
            <a:ln w="9318" cap="flat">
              <a:noFill/>
              <a:prstDash val="solid"/>
              <a:round/>
            </a:ln>
          </p:spPr>
          <p:txBody>
            <a:bodyPr rtlCol="0" anchor="ctr"/>
            <a:lstStyle/>
            <a:p>
              <a:endParaRPr lang="en-LT"/>
            </a:p>
          </p:txBody>
        </p:sp>
        <p:sp>
          <p:nvSpPr>
            <p:cNvPr id="383" name="Freeform 382">
              <a:extLst>
                <a:ext uri="{FF2B5EF4-FFF2-40B4-BE49-F238E27FC236}">
                  <a16:creationId xmlns:a16="http://schemas.microsoft.com/office/drawing/2014/main" id="{861B9ADF-3F16-D246-BAFA-6BC601A9DE86}"/>
                </a:ext>
              </a:extLst>
            </p:cNvPr>
            <p:cNvSpPr/>
            <p:nvPr/>
          </p:nvSpPr>
          <p:spPr>
            <a:xfrm>
              <a:off x="6939495" y="3564714"/>
              <a:ext cx="60643" cy="433851"/>
            </a:xfrm>
            <a:custGeom>
              <a:avLst/>
              <a:gdLst>
                <a:gd name="connsiteX0" fmla="*/ 22037 w 22256"/>
                <a:gd name="connsiteY0" fmla="*/ 1085 h 159224"/>
                <a:gd name="connsiteX1" fmla="*/ 20976 w 22256"/>
                <a:gd name="connsiteY1" fmla="*/ 25 h 159224"/>
                <a:gd name="connsiteX2" fmla="*/ 15682 w 22256"/>
                <a:gd name="connsiteY2" fmla="*/ 8587 h 159224"/>
                <a:gd name="connsiteX3" fmla="*/ 8266 w 22256"/>
                <a:gd name="connsiteY3" fmla="*/ 84429 h 159224"/>
                <a:gd name="connsiteX4" fmla="*/ -220 w 22256"/>
                <a:gd name="connsiteY4" fmla="*/ 159212 h 159224"/>
                <a:gd name="connsiteX5" fmla="*/ 9317 w 22256"/>
                <a:gd name="connsiteY5" fmla="*/ 126082 h 159224"/>
                <a:gd name="connsiteX6" fmla="*/ 22037 w 22256"/>
                <a:gd name="connsiteY6" fmla="*/ 1085 h 15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6" h="159224">
                  <a:moveTo>
                    <a:pt x="22037" y="1085"/>
                  </a:moveTo>
                  <a:cubicBezTo>
                    <a:pt x="21980" y="451"/>
                    <a:pt x="21886" y="-173"/>
                    <a:pt x="20976" y="25"/>
                  </a:cubicBezTo>
                  <a:cubicBezTo>
                    <a:pt x="19098" y="3005"/>
                    <a:pt x="16414" y="5209"/>
                    <a:pt x="15682" y="8587"/>
                  </a:cubicBezTo>
                  <a:cubicBezTo>
                    <a:pt x="11129" y="29636"/>
                    <a:pt x="10735" y="57761"/>
                    <a:pt x="8266" y="84429"/>
                  </a:cubicBezTo>
                  <a:cubicBezTo>
                    <a:pt x="5788" y="110833"/>
                    <a:pt x="2305" y="137151"/>
                    <a:pt x="-220" y="159212"/>
                  </a:cubicBezTo>
                  <a:cubicBezTo>
                    <a:pt x="9317" y="153877"/>
                    <a:pt x="7543" y="138513"/>
                    <a:pt x="9317" y="126082"/>
                  </a:cubicBezTo>
                  <a:cubicBezTo>
                    <a:pt x="15062" y="85877"/>
                    <a:pt x="15503" y="37904"/>
                    <a:pt x="22037" y="1085"/>
                  </a:cubicBezTo>
                  <a:close/>
                </a:path>
              </a:pathLst>
            </a:custGeom>
            <a:solidFill>
              <a:schemeClr val="bg1"/>
            </a:solidFill>
            <a:ln w="9318" cap="flat">
              <a:noFill/>
              <a:prstDash val="solid"/>
              <a:round/>
            </a:ln>
          </p:spPr>
          <p:txBody>
            <a:bodyPr rtlCol="0" anchor="ctr"/>
            <a:lstStyle/>
            <a:p>
              <a:endParaRPr lang="en-LT"/>
            </a:p>
          </p:txBody>
        </p:sp>
        <p:sp>
          <p:nvSpPr>
            <p:cNvPr id="384" name="Freeform 383">
              <a:extLst>
                <a:ext uri="{FF2B5EF4-FFF2-40B4-BE49-F238E27FC236}">
                  <a16:creationId xmlns:a16="http://schemas.microsoft.com/office/drawing/2014/main" id="{E429FA83-92BC-2746-A5CB-A6EDBF82B126}"/>
                </a:ext>
              </a:extLst>
            </p:cNvPr>
            <p:cNvSpPr/>
            <p:nvPr/>
          </p:nvSpPr>
          <p:spPr>
            <a:xfrm>
              <a:off x="6425364" y="3803410"/>
              <a:ext cx="106861" cy="116509"/>
            </a:xfrm>
            <a:custGeom>
              <a:avLst/>
              <a:gdLst>
                <a:gd name="connsiteX0" fmla="*/ 36896 w 39218"/>
                <a:gd name="connsiteY0" fmla="*/ 25 h 42759"/>
                <a:gd name="connsiteX1" fmla="*/ 16742 w 39218"/>
                <a:gd name="connsiteY1" fmla="*/ 19258 h 42759"/>
                <a:gd name="connsiteX2" fmla="*/ -220 w 39218"/>
                <a:gd name="connsiteY2" fmla="*/ 42748 h 42759"/>
                <a:gd name="connsiteX3" fmla="*/ 19925 w 39218"/>
                <a:gd name="connsiteY3" fmla="*/ 23534 h 42759"/>
                <a:gd name="connsiteX4" fmla="*/ 38999 w 39218"/>
                <a:gd name="connsiteY4" fmla="*/ 1094 h 42759"/>
                <a:gd name="connsiteX5" fmla="*/ 36896 w 39218"/>
                <a:gd name="connsiteY5" fmla="*/ 25 h 4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8" h="42759">
                  <a:moveTo>
                    <a:pt x="36896" y="25"/>
                  </a:moveTo>
                  <a:cubicBezTo>
                    <a:pt x="31208" y="7452"/>
                    <a:pt x="23623" y="12967"/>
                    <a:pt x="16742" y="19258"/>
                  </a:cubicBezTo>
                  <a:cubicBezTo>
                    <a:pt x="10209" y="25256"/>
                    <a:pt x="-4" y="30970"/>
                    <a:pt x="-220" y="42748"/>
                  </a:cubicBezTo>
                  <a:cubicBezTo>
                    <a:pt x="6942" y="39087"/>
                    <a:pt x="13081" y="30431"/>
                    <a:pt x="19925" y="23534"/>
                  </a:cubicBezTo>
                  <a:cubicBezTo>
                    <a:pt x="26561" y="16827"/>
                    <a:pt x="37121" y="11198"/>
                    <a:pt x="38999" y="1094"/>
                  </a:cubicBezTo>
                  <a:cubicBezTo>
                    <a:pt x="38774" y="271"/>
                    <a:pt x="38126" y="-145"/>
                    <a:pt x="36896" y="25"/>
                  </a:cubicBezTo>
                  <a:close/>
                </a:path>
              </a:pathLst>
            </a:custGeom>
            <a:solidFill>
              <a:schemeClr val="bg1"/>
            </a:solidFill>
            <a:ln w="9318" cap="flat">
              <a:noFill/>
              <a:prstDash val="solid"/>
              <a:round/>
            </a:ln>
          </p:spPr>
          <p:txBody>
            <a:bodyPr rtlCol="0" anchor="ctr"/>
            <a:lstStyle/>
            <a:p>
              <a:endParaRPr lang="en-LT"/>
            </a:p>
          </p:txBody>
        </p:sp>
        <p:sp>
          <p:nvSpPr>
            <p:cNvPr id="385" name="Freeform 384">
              <a:extLst>
                <a:ext uri="{FF2B5EF4-FFF2-40B4-BE49-F238E27FC236}">
                  <a16:creationId xmlns:a16="http://schemas.microsoft.com/office/drawing/2014/main" id="{5805B93C-B096-FE43-A531-8C92669626B0}"/>
                </a:ext>
              </a:extLst>
            </p:cNvPr>
            <p:cNvSpPr/>
            <p:nvPr/>
          </p:nvSpPr>
          <p:spPr>
            <a:xfrm>
              <a:off x="6427601" y="3832614"/>
              <a:ext cx="100149" cy="133961"/>
            </a:xfrm>
            <a:custGeom>
              <a:avLst/>
              <a:gdLst>
                <a:gd name="connsiteX0" fmla="*/ 36075 w 36755"/>
                <a:gd name="connsiteY0" fmla="*/ -12 h 49164"/>
                <a:gd name="connsiteX1" fmla="*/ 18052 w 36755"/>
                <a:gd name="connsiteY1" fmla="*/ 18161 h 49164"/>
                <a:gd name="connsiteX2" fmla="*/ 1080 w 36755"/>
                <a:gd name="connsiteY2" fmla="*/ 49152 h 49164"/>
                <a:gd name="connsiteX3" fmla="*/ 36075 w 36755"/>
                <a:gd name="connsiteY3" fmla="*/ -12 h 49164"/>
              </a:gdLst>
              <a:ahLst/>
              <a:cxnLst>
                <a:cxn ang="0">
                  <a:pos x="connsiteX0" y="connsiteY0"/>
                </a:cxn>
                <a:cxn ang="0">
                  <a:pos x="connsiteX1" y="connsiteY1"/>
                </a:cxn>
                <a:cxn ang="0">
                  <a:pos x="connsiteX2" y="connsiteY2"/>
                </a:cxn>
                <a:cxn ang="0">
                  <a:pos x="connsiteX3" y="connsiteY3"/>
                </a:cxn>
              </a:cxnLst>
              <a:rect l="l" t="t" r="r" b="b"/>
              <a:pathLst>
                <a:path w="36755" h="49164">
                  <a:moveTo>
                    <a:pt x="36075" y="-12"/>
                  </a:moveTo>
                  <a:cubicBezTo>
                    <a:pt x="30499" y="4311"/>
                    <a:pt x="24970" y="11170"/>
                    <a:pt x="18052" y="18161"/>
                  </a:cubicBezTo>
                  <a:cubicBezTo>
                    <a:pt x="9519" y="26713"/>
                    <a:pt x="-4571" y="33212"/>
                    <a:pt x="1080" y="49152"/>
                  </a:cubicBezTo>
                  <a:cubicBezTo>
                    <a:pt x="10711" y="35690"/>
                    <a:pt x="40590" y="27706"/>
                    <a:pt x="36075" y="-12"/>
                  </a:cubicBezTo>
                  <a:close/>
                </a:path>
              </a:pathLst>
            </a:custGeom>
            <a:solidFill>
              <a:schemeClr val="bg1"/>
            </a:solidFill>
            <a:ln w="9318" cap="flat">
              <a:noFill/>
              <a:prstDash val="solid"/>
              <a:round/>
            </a:ln>
          </p:spPr>
          <p:txBody>
            <a:bodyPr rtlCol="0" anchor="ctr"/>
            <a:lstStyle/>
            <a:p>
              <a:endParaRPr lang="en-LT"/>
            </a:p>
          </p:txBody>
        </p:sp>
        <p:sp>
          <p:nvSpPr>
            <p:cNvPr id="386" name="Freeform 385">
              <a:extLst>
                <a:ext uri="{FF2B5EF4-FFF2-40B4-BE49-F238E27FC236}">
                  <a16:creationId xmlns:a16="http://schemas.microsoft.com/office/drawing/2014/main" id="{78069A0F-26C3-7B4F-B932-78AA334C3CCD}"/>
                </a:ext>
              </a:extLst>
            </p:cNvPr>
            <p:cNvSpPr/>
            <p:nvPr/>
          </p:nvSpPr>
          <p:spPr>
            <a:xfrm>
              <a:off x="6431143" y="3887958"/>
              <a:ext cx="95757" cy="110607"/>
            </a:xfrm>
            <a:custGeom>
              <a:avLst/>
              <a:gdLst>
                <a:gd name="connsiteX0" fmla="*/ 33695 w 35143"/>
                <a:gd name="connsiteY0" fmla="*/ -12 h 40593"/>
                <a:gd name="connsiteX1" fmla="*/ 14621 w 35143"/>
                <a:gd name="connsiteY1" fmla="*/ 18132 h 40593"/>
                <a:gd name="connsiteX2" fmla="*/ -220 w 35143"/>
                <a:gd name="connsiteY2" fmla="*/ 40581 h 40593"/>
                <a:gd name="connsiteX3" fmla="*/ 34775 w 35143"/>
                <a:gd name="connsiteY3" fmla="*/ 10649 h 40593"/>
                <a:gd name="connsiteX4" fmla="*/ 33695 w 35143"/>
                <a:gd name="connsiteY4" fmla="*/ -12 h 40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3" h="40593">
                  <a:moveTo>
                    <a:pt x="33695" y="-12"/>
                  </a:moveTo>
                  <a:cubicBezTo>
                    <a:pt x="28551" y="7253"/>
                    <a:pt x="20957" y="12002"/>
                    <a:pt x="14621" y="18132"/>
                  </a:cubicBezTo>
                  <a:cubicBezTo>
                    <a:pt x="8810" y="23771"/>
                    <a:pt x="-41" y="29863"/>
                    <a:pt x="-220" y="40581"/>
                  </a:cubicBezTo>
                  <a:cubicBezTo>
                    <a:pt x="10875" y="34281"/>
                    <a:pt x="23623" y="20441"/>
                    <a:pt x="34775" y="10649"/>
                  </a:cubicBezTo>
                  <a:cubicBezTo>
                    <a:pt x="34089" y="7395"/>
                    <a:pt x="36117" y="1464"/>
                    <a:pt x="33695" y="-12"/>
                  </a:cubicBezTo>
                  <a:close/>
                </a:path>
              </a:pathLst>
            </a:custGeom>
            <a:solidFill>
              <a:schemeClr val="bg1"/>
            </a:solidFill>
            <a:ln w="9318" cap="flat">
              <a:noFill/>
              <a:prstDash val="solid"/>
              <a:round/>
            </a:ln>
          </p:spPr>
          <p:txBody>
            <a:bodyPr rtlCol="0" anchor="ctr"/>
            <a:lstStyle/>
            <a:p>
              <a:endParaRPr lang="en-LT"/>
            </a:p>
          </p:txBody>
        </p:sp>
        <p:sp>
          <p:nvSpPr>
            <p:cNvPr id="387" name="Freeform 386">
              <a:extLst>
                <a:ext uri="{FF2B5EF4-FFF2-40B4-BE49-F238E27FC236}">
                  <a16:creationId xmlns:a16="http://schemas.microsoft.com/office/drawing/2014/main" id="{57956BBD-FD3A-C249-8C8B-AE84C5D31AFD}"/>
                </a:ext>
              </a:extLst>
            </p:cNvPr>
            <p:cNvSpPr/>
            <p:nvPr/>
          </p:nvSpPr>
          <p:spPr>
            <a:xfrm>
              <a:off x="6434034" y="3928633"/>
              <a:ext cx="90024" cy="116484"/>
            </a:xfrm>
            <a:custGeom>
              <a:avLst/>
              <a:gdLst>
                <a:gd name="connsiteX0" fmla="*/ 31583 w 33039"/>
                <a:gd name="connsiteY0" fmla="*/ -12 h 42750"/>
                <a:gd name="connsiteX1" fmla="*/ -220 w 33039"/>
                <a:gd name="connsiteY1" fmla="*/ 28851 h 42750"/>
                <a:gd name="connsiteX2" fmla="*/ -220 w 33039"/>
                <a:gd name="connsiteY2" fmla="*/ 42738 h 42750"/>
                <a:gd name="connsiteX3" fmla="*/ 32634 w 33039"/>
                <a:gd name="connsiteY3" fmla="*/ 13913 h 42750"/>
                <a:gd name="connsiteX4" fmla="*/ 31583 w 33039"/>
                <a:gd name="connsiteY4" fmla="*/ -12 h 4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39" h="42750">
                  <a:moveTo>
                    <a:pt x="31583" y="-12"/>
                  </a:moveTo>
                  <a:cubicBezTo>
                    <a:pt x="21483" y="10110"/>
                    <a:pt x="10829" y="19665"/>
                    <a:pt x="-220" y="28851"/>
                  </a:cubicBezTo>
                  <a:lnTo>
                    <a:pt x="-220" y="42738"/>
                  </a:lnTo>
                  <a:cubicBezTo>
                    <a:pt x="11880" y="34262"/>
                    <a:pt x="20807" y="22588"/>
                    <a:pt x="32634" y="13913"/>
                  </a:cubicBezTo>
                  <a:cubicBezTo>
                    <a:pt x="31968" y="9599"/>
                    <a:pt x="34033" y="2523"/>
                    <a:pt x="31583" y="-12"/>
                  </a:cubicBezTo>
                  <a:close/>
                </a:path>
              </a:pathLst>
            </a:custGeom>
            <a:solidFill>
              <a:schemeClr val="bg1"/>
            </a:solidFill>
            <a:ln w="9318" cap="flat">
              <a:noFill/>
              <a:prstDash val="solid"/>
              <a:round/>
            </a:ln>
          </p:spPr>
          <p:txBody>
            <a:bodyPr rtlCol="0" anchor="ctr"/>
            <a:lstStyle/>
            <a:p>
              <a:endParaRPr lang="en-LT"/>
            </a:p>
          </p:txBody>
        </p:sp>
        <p:sp>
          <p:nvSpPr>
            <p:cNvPr id="388" name="Freeform 387">
              <a:extLst>
                <a:ext uri="{FF2B5EF4-FFF2-40B4-BE49-F238E27FC236}">
                  <a16:creationId xmlns:a16="http://schemas.microsoft.com/office/drawing/2014/main" id="{E2464D5D-AE86-0E4F-A200-3A211DF20E31}"/>
                </a:ext>
              </a:extLst>
            </p:cNvPr>
            <p:cNvSpPr/>
            <p:nvPr/>
          </p:nvSpPr>
          <p:spPr>
            <a:xfrm>
              <a:off x="6436925" y="3975290"/>
              <a:ext cx="89572" cy="98931"/>
            </a:xfrm>
            <a:custGeom>
              <a:avLst/>
              <a:gdLst>
                <a:gd name="connsiteX0" fmla="*/ 32653 w 32873"/>
                <a:gd name="connsiteY0" fmla="*/ 2126 h 36308"/>
                <a:gd name="connsiteX1" fmla="*/ 30522 w 32873"/>
                <a:gd name="connsiteY1" fmla="*/ -12 h 36308"/>
                <a:gd name="connsiteX2" fmla="*/ -220 w 32873"/>
                <a:gd name="connsiteY2" fmla="*/ 36296 h 36308"/>
                <a:gd name="connsiteX3" fmla="*/ 32653 w 32873"/>
                <a:gd name="connsiteY3" fmla="*/ 2126 h 36308"/>
              </a:gdLst>
              <a:ahLst/>
              <a:cxnLst>
                <a:cxn ang="0">
                  <a:pos x="connsiteX0" y="connsiteY0"/>
                </a:cxn>
                <a:cxn ang="0">
                  <a:pos x="connsiteX1" y="connsiteY1"/>
                </a:cxn>
                <a:cxn ang="0">
                  <a:pos x="connsiteX2" y="connsiteY2"/>
                </a:cxn>
                <a:cxn ang="0">
                  <a:pos x="connsiteX3" y="connsiteY3"/>
                </a:cxn>
              </a:cxnLst>
              <a:rect l="l" t="t" r="r" b="b"/>
              <a:pathLst>
                <a:path w="32873" h="36308">
                  <a:moveTo>
                    <a:pt x="32653" y="2126"/>
                  </a:moveTo>
                  <a:cubicBezTo>
                    <a:pt x="31245" y="2088"/>
                    <a:pt x="31667" y="234"/>
                    <a:pt x="30522" y="-12"/>
                  </a:cubicBezTo>
                  <a:cubicBezTo>
                    <a:pt x="21698" y="13516"/>
                    <a:pt x="3037" y="17139"/>
                    <a:pt x="-220" y="36296"/>
                  </a:cubicBezTo>
                  <a:cubicBezTo>
                    <a:pt x="11936" y="26117"/>
                    <a:pt x="24017" y="15824"/>
                    <a:pt x="32653" y="2126"/>
                  </a:cubicBezTo>
                  <a:close/>
                </a:path>
              </a:pathLst>
            </a:custGeom>
            <a:solidFill>
              <a:schemeClr val="bg1"/>
            </a:solidFill>
            <a:ln w="9318" cap="flat">
              <a:noFill/>
              <a:prstDash val="solid"/>
              <a:round/>
            </a:ln>
          </p:spPr>
          <p:txBody>
            <a:bodyPr rtlCol="0" anchor="ctr"/>
            <a:lstStyle/>
            <a:p>
              <a:endParaRPr lang="en-LT"/>
            </a:p>
          </p:txBody>
        </p:sp>
        <p:sp>
          <p:nvSpPr>
            <p:cNvPr id="389" name="Freeform 388">
              <a:extLst>
                <a:ext uri="{FF2B5EF4-FFF2-40B4-BE49-F238E27FC236}">
                  <a16:creationId xmlns:a16="http://schemas.microsoft.com/office/drawing/2014/main" id="{44CD2427-8279-F74A-AD23-CCC70E72500C}"/>
                </a:ext>
              </a:extLst>
            </p:cNvPr>
            <p:cNvSpPr/>
            <p:nvPr/>
          </p:nvSpPr>
          <p:spPr>
            <a:xfrm>
              <a:off x="6437985" y="4004393"/>
              <a:ext cx="94348" cy="521055"/>
            </a:xfrm>
            <a:custGeom>
              <a:avLst/>
              <a:gdLst>
                <a:gd name="connsiteX0" fmla="*/ 32264 w 34626"/>
                <a:gd name="connsiteY0" fmla="*/ -12 h 191228"/>
                <a:gd name="connsiteX1" fmla="*/ 30133 w 34626"/>
                <a:gd name="connsiteY1" fmla="*/ -12 h 191228"/>
                <a:gd name="connsiteX2" fmla="*/ 452 w 34626"/>
                <a:gd name="connsiteY2" fmla="*/ 30951 h 191228"/>
                <a:gd name="connsiteX3" fmla="*/ 5746 w 34626"/>
                <a:gd name="connsiteY3" fmla="*/ 86511 h 191228"/>
                <a:gd name="connsiteX4" fmla="*/ 11050 w 34626"/>
                <a:gd name="connsiteY4" fmla="*/ 142042 h 191228"/>
                <a:gd name="connsiteX5" fmla="*/ 24839 w 34626"/>
                <a:gd name="connsiteY5" fmla="*/ 191207 h 191228"/>
                <a:gd name="connsiteX6" fmla="*/ 32264 w 34626"/>
                <a:gd name="connsiteY6" fmla="*/ 163413 h 191228"/>
                <a:gd name="connsiteX7" fmla="*/ 32264 w 34626"/>
                <a:gd name="connsiteY7" fmla="*/ -12 h 1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6" h="191228">
                  <a:moveTo>
                    <a:pt x="32264" y="-12"/>
                  </a:moveTo>
                  <a:lnTo>
                    <a:pt x="30133" y="-12"/>
                  </a:lnTo>
                  <a:cubicBezTo>
                    <a:pt x="23910" y="11009"/>
                    <a:pt x="3624" y="17849"/>
                    <a:pt x="452" y="30951"/>
                  </a:cubicBezTo>
                  <a:cubicBezTo>
                    <a:pt x="-2374" y="42701"/>
                    <a:pt x="4554" y="66540"/>
                    <a:pt x="5746" y="86511"/>
                  </a:cubicBezTo>
                  <a:cubicBezTo>
                    <a:pt x="6994" y="107333"/>
                    <a:pt x="9773" y="128297"/>
                    <a:pt x="11050" y="142042"/>
                  </a:cubicBezTo>
                  <a:cubicBezTo>
                    <a:pt x="12627" y="159023"/>
                    <a:pt x="10308" y="191841"/>
                    <a:pt x="24839" y="191207"/>
                  </a:cubicBezTo>
                  <a:cubicBezTo>
                    <a:pt x="34188" y="190791"/>
                    <a:pt x="32602" y="173743"/>
                    <a:pt x="32264" y="163413"/>
                  </a:cubicBezTo>
                  <a:cubicBezTo>
                    <a:pt x="30527" y="113368"/>
                    <a:pt x="37859" y="51972"/>
                    <a:pt x="32264" y="-12"/>
                  </a:cubicBezTo>
                  <a:close/>
                </a:path>
              </a:pathLst>
            </a:custGeom>
            <a:solidFill>
              <a:schemeClr val="bg1"/>
            </a:solidFill>
            <a:ln w="9318" cap="flat">
              <a:noFill/>
              <a:prstDash val="solid"/>
              <a:round/>
            </a:ln>
          </p:spPr>
          <p:txBody>
            <a:bodyPr rtlCol="0" anchor="ctr"/>
            <a:lstStyle/>
            <a:p>
              <a:endParaRPr lang="en-LT"/>
            </a:p>
          </p:txBody>
        </p:sp>
        <p:sp>
          <p:nvSpPr>
            <p:cNvPr id="390" name="Freeform 389">
              <a:extLst>
                <a:ext uri="{FF2B5EF4-FFF2-40B4-BE49-F238E27FC236}">
                  <a16:creationId xmlns:a16="http://schemas.microsoft.com/office/drawing/2014/main" id="{65DC1DC5-E554-A247-922D-45DECC8E7457}"/>
                </a:ext>
              </a:extLst>
            </p:cNvPr>
            <p:cNvSpPr/>
            <p:nvPr/>
          </p:nvSpPr>
          <p:spPr>
            <a:xfrm>
              <a:off x="6512020" y="2156001"/>
              <a:ext cx="72229" cy="96070"/>
            </a:xfrm>
            <a:custGeom>
              <a:avLst/>
              <a:gdLst>
                <a:gd name="connsiteX0" fmla="*/ -220 w 26508"/>
                <a:gd name="connsiteY0" fmla="*/ 35246 h 35258"/>
                <a:gd name="connsiteX1" fmla="*/ 26289 w 26508"/>
                <a:gd name="connsiteY1" fmla="*/ -12 h 35258"/>
                <a:gd name="connsiteX2" fmla="*/ -220 w 26508"/>
                <a:gd name="connsiteY2" fmla="*/ 35246 h 35258"/>
              </a:gdLst>
              <a:ahLst/>
              <a:cxnLst>
                <a:cxn ang="0">
                  <a:pos x="connsiteX0" y="connsiteY0"/>
                </a:cxn>
                <a:cxn ang="0">
                  <a:pos x="connsiteX1" y="connsiteY1"/>
                </a:cxn>
                <a:cxn ang="0">
                  <a:pos x="connsiteX2" y="connsiteY2"/>
                </a:cxn>
              </a:cxnLst>
              <a:rect l="l" t="t" r="r" b="b"/>
              <a:pathLst>
                <a:path w="26508" h="35258">
                  <a:moveTo>
                    <a:pt x="-220" y="35246"/>
                  </a:moveTo>
                  <a:cubicBezTo>
                    <a:pt x="8256" y="23137"/>
                    <a:pt x="18432" y="12731"/>
                    <a:pt x="26289" y="-12"/>
                  </a:cubicBezTo>
                  <a:cubicBezTo>
                    <a:pt x="15287" y="8814"/>
                    <a:pt x="5281" y="24395"/>
                    <a:pt x="-220" y="35246"/>
                  </a:cubicBezTo>
                  <a:close/>
                </a:path>
              </a:pathLst>
            </a:custGeom>
            <a:solidFill>
              <a:schemeClr val="bg1"/>
            </a:solidFill>
            <a:ln w="9318" cap="flat">
              <a:noFill/>
              <a:prstDash val="solid"/>
              <a:round/>
            </a:ln>
          </p:spPr>
          <p:txBody>
            <a:bodyPr rtlCol="0" anchor="ctr"/>
            <a:lstStyle/>
            <a:p>
              <a:endParaRPr lang="en-LT"/>
            </a:p>
          </p:txBody>
        </p:sp>
        <p:sp>
          <p:nvSpPr>
            <p:cNvPr id="391" name="Freeform 390">
              <a:extLst>
                <a:ext uri="{FF2B5EF4-FFF2-40B4-BE49-F238E27FC236}">
                  <a16:creationId xmlns:a16="http://schemas.microsoft.com/office/drawing/2014/main" id="{249392CF-2074-5F44-AB4D-CFACD8D61294}"/>
                </a:ext>
              </a:extLst>
            </p:cNvPr>
            <p:cNvSpPr/>
            <p:nvPr/>
          </p:nvSpPr>
          <p:spPr>
            <a:xfrm>
              <a:off x="6439813" y="2304477"/>
              <a:ext cx="25986" cy="43640"/>
            </a:xfrm>
            <a:custGeom>
              <a:avLst/>
              <a:gdLst>
                <a:gd name="connsiteX0" fmla="*/ 9317 w 9537"/>
                <a:gd name="connsiteY0" fmla="*/ -12 h 16016"/>
                <a:gd name="connsiteX1" fmla="*/ -220 w 9537"/>
                <a:gd name="connsiteY1" fmla="*/ 16004 h 16016"/>
                <a:gd name="connsiteX2" fmla="*/ 9317 w 9537"/>
                <a:gd name="connsiteY2" fmla="*/ -12 h 16016"/>
              </a:gdLst>
              <a:ahLst/>
              <a:cxnLst>
                <a:cxn ang="0">
                  <a:pos x="connsiteX0" y="connsiteY0"/>
                </a:cxn>
                <a:cxn ang="0">
                  <a:pos x="connsiteX1" y="connsiteY1"/>
                </a:cxn>
                <a:cxn ang="0">
                  <a:pos x="connsiteX2" y="connsiteY2"/>
                </a:cxn>
              </a:cxnLst>
              <a:rect l="l" t="t" r="r" b="b"/>
              <a:pathLst>
                <a:path w="9537" h="16016">
                  <a:moveTo>
                    <a:pt x="9317" y="-12"/>
                  </a:moveTo>
                  <a:cubicBezTo>
                    <a:pt x="6501" y="5664"/>
                    <a:pt x="1038" y="8738"/>
                    <a:pt x="-220" y="16004"/>
                  </a:cubicBezTo>
                  <a:cubicBezTo>
                    <a:pt x="4173" y="12589"/>
                    <a:pt x="9101" y="4046"/>
                    <a:pt x="9317" y="-12"/>
                  </a:cubicBezTo>
                  <a:close/>
                </a:path>
              </a:pathLst>
            </a:custGeom>
            <a:solidFill>
              <a:schemeClr val="bg1"/>
            </a:solidFill>
            <a:ln w="9318" cap="flat">
              <a:noFill/>
              <a:prstDash val="solid"/>
              <a:round/>
            </a:ln>
          </p:spPr>
          <p:txBody>
            <a:bodyPr rtlCol="0" anchor="ctr"/>
            <a:lstStyle/>
            <a:p>
              <a:endParaRPr lang="en-LT"/>
            </a:p>
          </p:txBody>
        </p:sp>
        <p:sp>
          <p:nvSpPr>
            <p:cNvPr id="392" name="Freeform 391">
              <a:extLst>
                <a:ext uri="{FF2B5EF4-FFF2-40B4-BE49-F238E27FC236}">
                  <a16:creationId xmlns:a16="http://schemas.microsoft.com/office/drawing/2014/main" id="{1577F503-CFFB-9343-A67E-891DF4A39448}"/>
                </a:ext>
              </a:extLst>
            </p:cNvPr>
            <p:cNvSpPr/>
            <p:nvPr/>
          </p:nvSpPr>
          <p:spPr>
            <a:xfrm>
              <a:off x="6745975" y="2476201"/>
              <a:ext cx="453900" cy="1564093"/>
            </a:xfrm>
            <a:custGeom>
              <a:avLst/>
              <a:gdLst>
                <a:gd name="connsiteX0" fmla="*/ 52769 w 166582"/>
                <a:gd name="connsiteY0" fmla="*/ 498862 h 574025"/>
                <a:gd name="connsiteX1" fmla="*/ 51718 w 166582"/>
                <a:gd name="connsiteY1" fmla="*/ 508493 h 574025"/>
                <a:gd name="connsiteX2" fmla="*/ 52769 w 166582"/>
                <a:gd name="connsiteY2" fmla="*/ 498862 h 574025"/>
                <a:gd name="connsiteX3" fmla="*/ 53830 w 166582"/>
                <a:gd name="connsiteY3" fmla="*/ 552293 h 574025"/>
                <a:gd name="connsiteX4" fmla="*/ 59143 w 166582"/>
                <a:gd name="connsiteY4" fmla="*/ 553362 h 574025"/>
                <a:gd name="connsiteX5" fmla="*/ 58092 w 166582"/>
                <a:gd name="connsiteY5" fmla="*/ 556560 h 574025"/>
                <a:gd name="connsiteX6" fmla="*/ 53830 w 166582"/>
                <a:gd name="connsiteY6" fmla="*/ 552293 h 574025"/>
                <a:gd name="connsiteX7" fmla="*/ 102605 w 166582"/>
                <a:gd name="connsiteY7" fmla="*/ 512750 h 574025"/>
                <a:gd name="connsiteX8" fmla="*/ 108969 w 166582"/>
                <a:gd name="connsiteY8" fmla="*/ 505286 h 574025"/>
                <a:gd name="connsiteX9" fmla="*/ 102605 w 166582"/>
                <a:gd name="connsiteY9" fmla="*/ 512750 h 574025"/>
                <a:gd name="connsiteX10" fmla="*/ 130156 w 166582"/>
                <a:gd name="connsiteY10" fmla="*/ 480708 h 574025"/>
                <a:gd name="connsiteX11" fmla="*/ 122740 w 166582"/>
                <a:gd name="connsiteY11" fmla="*/ 490320 h 574025"/>
                <a:gd name="connsiteX12" fmla="*/ 130156 w 166582"/>
                <a:gd name="connsiteY12" fmla="*/ 480708 h 574025"/>
                <a:gd name="connsiteX13" fmla="*/ 38999 w 166582"/>
                <a:gd name="connsiteY13" fmla="*/ 478579 h 574025"/>
                <a:gd name="connsiteX14" fmla="*/ 38999 w 166582"/>
                <a:gd name="connsiteY14" fmla="*/ 478579 h 574025"/>
                <a:gd name="connsiteX15" fmla="*/ 14611 w 166582"/>
                <a:gd name="connsiteY15" fmla="*/ 116424 h 574025"/>
                <a:gd name="connsiteX16" fmla="*/ 14790 w 166582"/>
                <a:gd name="connsiteY16" fmla="*/ 111609 h 574025"/>
                <a:gd name="connsiteX17" fmla="*/ 15663 w 166582"/>
                <a:gd name="connsiteY17" fmla="*/ 91648 h 574025"/>
                <a:gd name="connsiteX18" fmla="*/ 20985 w 166582"/>
                <a:gd name="connsiteY18" fmla="*/ 39494 h 574025"/>
                <a:gd name="connsiteX19" fmla="*/ 15663 w 166582"/>
                <a:gd name="connsiteY19" fmla="*/ 91648 h 574025"/>
                <a:gd name="connsiteX20" fmla="*/ 14790 w 166582"/>
                <a:gd name="connsiteY20" fmla="*/ 111609 h 574025"/>
                <a:gd name="connsiteX21" fmla="*/ 15682 w 166582"/>
                <a:gd name="connsiteY21" fmla="*/ 119631 h 574025"/>
                <a:gd name="connsiteX22" fmla="*/ 34765 w 166582"/>
                <a:gd name="connsiteY22" fmla="*/ 163432 h 574025"/>
                <a:gd name="connsiteX23" fmla="*/ 37957 w 166582"/>
                <a:gd name="connsiteY23" fmla="*/ 200818 h 574025"/>
                <a:gd name="connsiteX24" fmla="*/ 33695 w 166582"/>
                <a:gd name="connsiteY24" fmla="*/ 318333 h 574025"/>
                <a:gd name="connsiteX25" fmla="*/ 46424 w 166582"/>
                <a:gd name="connsiteY25" fmla="*/ 347177 h 574025"/>
                <a:gd name="connsiteX26" fmla="*/ 48536 w 166582"/>
                <a:gd name="connsiteY26" fmla="*/ 445459 h 574025"/>
                <a:gd name="connsiteX27" fmla="*/ 18864 w 166582"/>
                <a:gd name="connsiteY27" fmla="*/ 477510 h 574025"/>
                <a:gd name="connsiteX28" fmla="*/ 32653 w 166582"/>
                <a:gd name="connsiteY28" fmla="*/ 526637 h 574025"/>
                <a:gd name="connsiteX29" fmla="*/ 51718 w 166582"/>
                <a:gd name="connsiteY29" fmla="*/ 573655 h 574025"/>
                <a:gd name="connsiteX30" fmla="*/ 72914 w 166582"/>
                <a:gd name="connsiteY30" fmla="*/ 523430 h 574025"/>
                <a:gd name="connsiteX31" fmla="*/ 85652 w 166582"/>
                <a:gd name="connsiteY31" fmla="*/ 410192 h 574025"/>
                <a:gd name="connsiteX32" fmla="*/ 75035 w 166582"/>
                <a:gd name="connsiteY32" fmla="*/ 440124 h 574025"/>
                <a:gd name="connsiteX33" fmla="*/ 62325 w 166582"/>
                <a:gd name="connsiteY33" fmla="*/ 561895 h 574025"/>
                <a:gd name="connsiteX34" fmla="*/ 70802 w 166582"/>
                <a:gd name="connsiteY34" fmla="*/ 457190 h 574025"/>
                <a:gd name="connsiteX35" fmla="*/ 64428 w 166582"/>
                <a:gd name="connsiteY35" fmla="*/ 461466 h 574025"/>
                <a:gd name="connsiteX36" fmla="*/ 76115 w 166582"/>
                <a:gd name="connsiteY36" fmla="*/ 419813 h 574025"/>
                <a:gd name="connsiteX37" fmla="*/ 66550 w 166582"/>
                <a:gd name="connsiteY37" fmla="*/ 425167 h 574025"/>
                <a:gd name="connsiteX38" fmla="*/ 61274 w 166582"/>
                <a:gd name="connsiteY38" fmla="*/ 357858 h 574025"/>
                <a:gd name="connsiteX39" fmla="*/ 86703 w 166582"/>
                <a:gd name="connsiteY39" fmla="*/ 352503 h 574025"/>
                <a:gd name="connsiteX40" fmla="*/ 95180 w 166582"/>
                <a:gd name="connsiteY40" fmla="*/ 380288 h 574025"/>
                <a:gd name="connsiteX41" fmla="*/ 98371 w 166582"/>
                <a:gd name="connsiteY41" fmla="*/ 379238 h 574025"/>
                <a:gd name="connsiteX42" fmla="*/ 100483 w 166582"/>
                <a:gd name="connsiteY42" fmla="*/ 392028 h 574025"/>
                <a:gd name="connsiteX43" fmla="*/ 95180 w 166582"/>
                <a:gd name="connsiteY43" fmla="*/ 398461 h 574025"/>
                <a:gd name="connsiteX44" fmla="*/ 79288 w 166582"/>
                <a:gd name="connsiteY44" fmla="*/ 551234 h 574025"/>
                <a:gd name="connsiteX45" fmla="*/ 87764 w 166582"/>
                <a:gd name="connsiteY45" fmla="*/ 517026 h 574025"/>
                <a:gd name="connsiteX46" fmla="*/ 99432 w 166582"/>
                <a:gd name="connsiteY46" fmla="*/ 394176 h 574025"/>
                <a:gd name="connsiteX47" fmla="*/ 86703 w 166582"/>
                <a:gd name="connsiteY47" fmla="*/ 544810 h 574025"/>
                <a:gd name="connsiteX48" fmla="*/ 96250 w 166582"/>
                <a:gd name="connsiteY48" fmla="*/ 511681 h 574025"/>
                <a:gd name="connsiteX49" fmla="*/ 106838 w 166582"/>
                <a:gd name="connsiteY49" fmla="*/ 390959 h 574025"/>
                <a:gd name="connsiteX50" fmla="*/ 95180 w 166582"/>
                <a:gd name="connsiteY50" fmla="*/ 536249 h 574025"/>
                <a:gd name="connsiteX51" fmla="*/ 130156 w 166582"/>
                <a:gd name="connsiteY51" fmla="*/ 502060 h 574025"/>
                <a:gd name="connsiteX52" fmla="*/ 166211 w 166582"/>
                <a:gd name="connsiteY52" fmla="*/ 465761 h 574025"/>
                <a:gd name="connsiteX53" fmla="*/ 159818 w 166582"/>
                <a:gd name="connsiteY53" fmla="*/ 437976 h 574025"/>
                <a:gd name="connsiteX54" fmla="*/ 139712 w 166582"/>
                <a:gd name="connsiteY54" fmla="*/ 353572 h 574025"/>
                <a:gd name="connsiteX55" fmla="*/ 112142 w 166582"/>
                <a:gd name="connsiteY55" fmla="*/ 378169 h 574025"/>
                <a:gd name="connsiteX56" fmla="*/ 76115 w 166582"/>
                <a:gd name="connsiteY56" fmla="*/ 330073 h 574025"/>
                <a:gd name="connsiteX57" fmla="*/ 59143 w 166582"/>
                <a:gd name="connsiteY57" fmla="*/ 324738 h 574025"/>
                <a:gd name="connsiteX58" fmla="*/ 68680 w 166582"/>
                <a:gd name="connsiteY58" fmla="*/ 320462 h 574025"/>
                <a:gd name="connsiteX59" fmla="*/ 72914 w 166582"/>
                <a:gd name="connsiteY59" fmla="*/ 204025 h 574025"/>
                <a:gd name="connsiteX60" fmla="*/ 66550 w 166582"/>
                <a:gd name="connsiteY60" fmla="*/ 174112 h 574025"/>
                <a:gd name="connsiteX61" fmla="*/ 22027 w 166582"/>
                <a:gd name="connsiteY61" fmla="*/ 30970 h 574025"/>
                <a:gd name="connsiteX62" fmla="*/ 20985 w 166582"/>
                <a:gd name="connsiteY62" fmla="*/ 37365 h 574025"/>
                <a:gd name="connsiteX63" fmla="*/ 6144 w 166582"/>
                <a:gd name="connsiteY63" fmla="*/ -12 h 574025"/>
                <a:gd name="connsiteX64" fmla="*/ -220 w 166582"/>
                <a:gd name="connsiteY64" fmla="*/ 96132 h 574025"/>
                <a:gd name="connsiteX65" fmla="*/ 14611 w 166582"/>
                <a:gd name="connsiteY65" fmla="*/ 116424 h 57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66582" h="574025">
                  <a:moveTo>
                    <a:pt x="52769" y="498862"/>
                  </a:moveTo>
                  <a:cubicBezTo>
                    <a:pt x="55858" y="501360"/>
                    <a:pt x="50798" y="504623"/>
                    <a:pt x="51718" y="508493"/>
                  </a:cubicBezTo>
                  <a:cubicBezTo>
                    <a:pt x="48395" y="505740"/>
                    <a:pt x="52309" y="501312"/>
                    <a:pt x="52769" y="498862"/>
                  </a:cubicBezTo>
                  <a:close/>
                  <a:moveTo>
                    <a:pt x="53830" y="552293"/>
                  </a:moveTo>
                  <a:cubicBezTo>
                    <a:pt x="55069" y="553183"/>
                    <a:pt x="56684" y="553675"/>
                    <a:pt x="59143" y="553362"/>
                  </a:cubicBezTo>
                  <a:cubicBezTo>
                    <a:pt x="58589" y="554223"/>
                    <a:pt x="58035" y="555065"/>
                    <a:pt x="58092" y="556560"/>
                  </a:cubicBezTo>
                  <a:cubicBezTo>
                    <a:pt x="54759" y="557061"/>
                    <a:pt x="53351" y="555633"/>
                    <a:pt x="53830" y="552293"/>
                  </a:cubicBezTo>
                  <a:close/>
                  <a:moveTo>
                    <a:pt x="102605" y="512750"/>
                  </a:moveTo>
                  <a:cubicBezTo>
                    <a:pt x="100540" y="510243"/>
                    <a:pt x="105834" y="506090"/>
                    <a:pt x="108969" y="505286"/>
                  </a:cubicBezTo>
                  <a:cubicBezTo>
                    <a:pt x="107514" y="508436"/>
                    <a:pt x="104069" y="509609"/>
                    <a:pt x="102605" y="512750"/>
                  </a:cubicBezTo>
                  <a:close/>
                  <a:moveTo>
                    <a:pt x="130156" y="480708"/>
                  </a:moveTo>
                  <a:cubicBezTo>
                    <a:pt x="132099" y="484123"/>
                    <a:pt x="125162" y="487718"/>
                    <a:pt x="122740" y="490320"/>
                  </a:cubicBezTo>
                  <a:cubicBezTo>
                    <a:pt x="121538" y="491512"/>
                    <a:pt x="126964" y="482080"/>
                    <a:pt x="130156" y="480708"/>
                  </a:cubicBezTo>
                  <a:close/>
                  <a:moveTo>
                    <a:pt x="38999" y="478579"/>
                  </a:moveTo>
                  <a:cubicBezTo>
                    <a:pt x="40444" y="483735"/>
                    <a:pt x="32090" y="492713"/>
                    <a:pt x="38999" y="478579"/>
                  </a:cubicBezTo>
                  <a:close/>
                  <a:moveTo>
                    <a:pt x="14611" y="116424"/>
                  </a:moveTo>
                  <a:cubicBezTo>
                    <a:pt x="14658" y="114797"/>
                    <a:pt x="14733" y="113217"/>
                    <a:pt x="14790" y="111609"/>
                  </a:cubicBezTo>
                  <a:cubicBezTo>
                    <a:pt x="14396" y="105128"/>
                    <a:pt x="14818" y="98450"/>
                    <a:pt x="15663" y="91648"/>
                  </a:cubicBezTo>
                  <a:cubicBezTo>
                    <a:pt x="16677" y="73494"/>
                    <a:pt x="18291" y="55954"/>
                    <a:pt x="20985" y="39494"/>
                  </a:cubicBezTo>
                  <a:cubicBezTo>
                    <a:pt x="22224" y="56494"/>
                    <a:pt x="17794" y="74430"/>
                    <a:pt x="15663" y="91648"/>
                  </a:cubicBezTo>
                  <a:cubicBezTo>
                    <a:pt x="15297" y="98223"/>
                    <a:pt x="15006" y="104873"/>
                    <a:pt x="14790" y="111609"/>
                  </a:cubicBezTo>
                  <a:cubicBezTo>
                    <a:pt x="14959" y="114314"/>
                    <a:pt x="15175" y="117001"/>
                    <a:pt x="15682" y="119631"/>
                  </a:cubicBezTo>
                  <a:cubicBezTo>
                    <a:pt x="18282" y="133197"/>
                    <a:pt x="30250" y="147434"/>
                    <a:pt x="34765" y="163432"/>
                  </a:cubicBezTo>
                  <a:cubicBezTo>
                    <a:pt x="38445" y="176468"/>
                    <a:pt x="38802" y="187990"/>
                    <a:pt x="37957" y="200818"/>
                  </a:cubicBezTo>
                  <a:cubicBezTo>
                    <a:pt x="35441" y="237865"/>
                    <a:pt x="36934" y="274570"/>
                    <a:pt x="33695" y="318333"/>
                  </a:cubicBezTo>
                  <a:cubicBezTo>
                    <a:pt x="43429" y="322410"/>
                    <a:pt x="40210" y="339543"/>
                    <a:pt x="46424" y="347177"/>
                  </a:cubicBezTo>
                  <a:cubicBezTo>
                    <a:pt x="32897" y="371755"/>
                    <a:pt x="39365" y="421165"/>
                    <a:pt x="48536" y="445459"/>
                  </a:cubicBezTo>
                  <a:cubicBezTo>
                    <a:pt x="40576" y="455345"/>
                    <a:pt x="21558" y="463472"/>
                    <a:pt x="18864" y="477510"/>
                  </a:cubicBezTo>
                  <a:cubicBezTo>
                    <a:pt x="16207" y="491322"/>
                    <a:pt x="27528" y="512598"/>
                    <a:pt x="32653" y="526637"/>
                  </a:cubicBezTo>
                  <a:cubicBezTo>
                    <a:pt x="37206" y="539163"/>
                    <a:pt x="42613" y="571592"/>
                    <a:pt x="51718" y="573655"/>
                  </a:cubicBezTo>
                  <a:cubicBezTo>
                    <a:pt x="71412" y="578101"/>
                    <a:pt x="70886" y="540090"/>
                    <a:pt x="72914" y="523430"/>
                  </a:cubicBezTo>
                  <a:cubicBezTo>
                    <a:pt x="77495" y="486148"/>
                    <a:pt x="80132" y="444088"/>
                    <a:pt x="85652" y="410192"/>
                  </a:cubicBezTo>
                  <a:cubicBezTo>
                    <a:pt x="76246" y="409350"/>
                    <a:pt x="76500" y="428147"/>
                    <a:pt x="75035" y="440124"/>
                  </a:cubicBezTo>
                  <a:cubicBezTo>
                    <a:pt x="70145" y="480263"/>
                    <a:pt x="67188" y="525180"/>
                    <a:pt x="62325" y="561895"/>
                  </a:cubicBezTo>
                  <a:cubicBezTo>
                    <a:pt x="63330" y="525180"/>
                    <a:pt x="67385" y="491512"/>
                    <a:pt x="70802" y="457190"/>
                  </a:cubicBezTo>
                  <a:cubicBezTo>
                    <a:pt x="68774" y="453860"/>
                    <a:pt x="66099" y="464437"/>
                    <a:pt x="64428" y="461466"/>
                  </a:cubicBezTo>
                  <a:cubicBezTo>
                    <a:pt x="75354" y="454683"/>
                    <a:pt x="71712" y="433189"/>
                    <a:pt x="76115" y="419813"/>
                  </a:cubicBezTo>
                  <a:cubicBezTo>
                    <a:pt x="74228" y="414922"/>
                    <a:pt x="71046" y="425744"/>
                    <a:pt x="66550" y="425167"/>
                  </a:cubicBezTo>
                  <a:cubicBezTo>
                    <a:pt x="60185" y="408252"/>
                    <a:pt x="54196" y="378216"/>
                    <a:pt x="61274" y="357858"/>
                  </a:cubicBezTo>
                  <a:cubicBezTo>
                    <a:pt x="69863" y="364035"/>
                    <a:pt x="83418" y="360753"/>
                    <a:pt x="86703" y="352503"/>
                  </a:cubicBezTo>
                  <a:cubicBezTo>
                    <a:pt x="91153" y="360138"/>
                    <a:pt x="93734" y="369626"/>
                    <a:pt x="95180" y="380288"/>
                  </a:cubicBezTo>
                  <a:cubicBezTo>
                    <a:pt x="98024" y="382208"/>
                    <a:pt x="97235" y="375577"/>
                    <a:pt x="98371" y="379238"/>
                  </a:cubicBezTo>
                  <a:cubicBezTo>
                    <a:pt x="97470" y="385094"/>
                    <a:pt x="101028" y="386513"/>
                    <a:pt x="100483" y="392028"/>
                  </a:cubicBezTo>
                  <a:cubicBezTo>
                    <a:pt x="98897" y="394346"/>
                    <a:pt x="95170" y="394535"/>
                    <a:pt x="95180" y="398461"/>
                  </a:cubicBezTo>
                  <a:cubicBezTo>
                    <a:pt x="87642" y="447115"/>
                    <a:pt x="88290" y="504037"/>
                    <a:pt x="79288" y="551234"/>
                  </a:cubicBezTo>
                  <a:cubicBezTo>
                    <a:pt x="88599" y="544782"/>
                    <a:pt x="86722" y="529400"/>
                    <a:pt x="87764" y="517026"/>
                  </a:cubicBezTo>
                  <a:cubicBezTo>
                    <a:pt x="91106" y="476536"/>
                    <a:pt x="91537" y="429292"/>
                    <a:pt x="99432" y="394176"/>
                  </a:cubicBezTo>
                  <a:cubicBezTo>
                    <a:pt x="93415" y="442612"/>
                    <a:pt x="93068" y="496743"/>
                    <a:pt x="86703" y="544810"/>
                  </a:cubicBezTo>
                  <a:cubicBezTo>
                    <a:pt x="96954" y="539503"/>
                    <a:pt x="95170" y="523856"/>
                    <a:pt x="96250" y="511681"/>
                  </a:cubicBezTo>
                  <a:cubicBezTo>
                    <a:pt x="99676" y="472345"/>
                    <a:pt x="100052" y="425091"/>
                    <a:pt x="106838" y="390959"/>
                  </a:cubicBezTo>
                  <a:cubicBezTo>
                    <a:pt x="101788" y="438222"/>
                    <a:pt x="101112" y="489856"/>
                    <a:pt x="95180" y="536249"/>
                  </a:cubicBezTo>
                  <a:cubicBezTo>
                    <a:pt x="106716" y="527271"/>
                    <a:pt x="116263" y="517215"/>
                    <a:pt x="130156" y="502060"/>
                  </a:cubicBezTo>
                  <a:cubicBezTo>
                    <a:pt x="136501" y="495173"/>
                    <a:pt x="164840" y="473660"/>
                    <a:pt x="166211" y="465761"/>
                  </a:cubicBezTo>
                  <a:cubicBezTo>
                    <a:pt x="167375" y="458874"/>
                    <a:pt x="161498" y="447380"/>
                    <a:pt x="159818" y="437976"/>
                  </a:cubicBezTo>
                  <a:cubicBezTo>
                    <a:pt x="155998" y="416208"/>
                    <a:pt x="159274" y="355956"/>
                    <a:pt x="139712" y="353572"/>
                  </a:cubicBezTo>
                  <a:cubicBezTo>
                    <a:pt x="123247" y="351576"/>
                    <a:pt x="122993" y="375634"/>
                    <a:pt x="112142" y="378169"/>
                  </a:cubicBezTo>
                  <a:cubicBezTo>
                    <a:pt x="105993" y="356760"/>
                    <a:pt x="98418" y="333630"/>
                    <a:pt x="76115" y="330073"/>
                  </a:cubicBezTo>
                  <a:cubicBezTo>
                    <a:pt x="69356" y="329004"/>
                    <a:pt x="59894" y="334529"/>
                    <a:pt x="59143" y="324738"/>
                  </a:cubicBezTo>
                  <a:cubicBezTo>
                    <a:pt x="60645" y="321635"/>
                    <a:pt x="69957" y="326374"/>
                    <a:pt x="68680" y="320462"/>
                  </a:cubicBezTo>
                  <a:cubicBezTo>
                    <a:pt x="61340" y="285024"/>
                    <a:pt x="70942" y="240031"/>
                    <a:pt x="72914" y="204025"/>
                  </a:cubicBezTo>
                  <a:cubicBezTo>
                    <a:pt x="73740" y="189305"/>
                    <a:pt x="68652" y="183572"/>
                    <a:pt x="66550" y="174112"/>
                  </a:cubicBezTo>
                  <a:cubicBezTo>
                    <a:pt x="55426" y="123718"/>
                    <a:pt x="42585" y="72481"/>
                    <a:pt x="22027" y="30970"/>
                  </a:cubicBezTo>
                  <a:cubicBezTo>
                    <a:pt x="21445" y="32834"/>
                    <a:pt x="23322" y="37251"/>
                    <a:pt x="20985" y="37365"/>
                  </a:cubicBezTo>
                  <a:cubicBezTo>
                    <a:pt x="23238" y="20838"/>
                    <a:pt x="12997" y="10574"/>
                    <a:pt x="6144" y="-12"/>
                  </a:cubicBezTo>
                  <a:cubicBezTo>
                    <a:pt x="-558" y="26798"/>
                    <a:pt x="1967" y="68262"/>
                    <a:pt x="-220" y="96132"/>
                  </a:cubicBezTo>
                  <a:cubicBezTo>
                    <a:pt x="5102" y="102499"/>
                    <a:pt x="8209" y="111136"/>
                    <a:pt x="14611" y="116424"/>
                  </a:cubicBezTo>
                  <a:close/>
                </a:path>
              </a:pathLst>
            </a:custGeom>
            <a:solidFill>
              <a:schemeClr val="bg1"/>
            </a:solidFill>
            <a:ln w="9318" cap="flat">
              <a:noFill/>
              <a:prstDash val="solid"/>
              <a:round/>
            </a:ln>
          </p:spPr>
          <p:txBody>
            <a:bodyPr rtlCol="0" anchor="ctr"/>
            <a:lstStyle/>
            <a:p>
              <a:endParaRPr lang="en-LT"/>
            </a:p>
          </p:txBody>
        </p:sp>
        <p:sp>
          <p:nvSpPr>
            <p:cNvPr id="393" name="Freeform 392">
              <a:extLst>
                <a:ext uri="{FF2B5EF4-FFF2-40B4-BE49-F238E27FC236}">
                  <a16:creationId xmlns:a16="http://schemas.microsoft.com/office/drawing/2014/main" id="{1908AD3F-0B49-4944-912F-BDCC357E0C0B}"/>
                </a:ext>
              </a:extLst>
            </p:cNvPr>
            <p:cNvSpPr/>
            <p:nvPr/>
          </p:nvSpPr>
          <p:spPr>
            <a:xfrm>
              <a:off x="6616017" y="3812249"/>
              <a:ext cx="127544" cy="707345"/>
            </a:xfrm>
            <a:custGeom>
              <a:avLst/>
              <a:gdLst>
                <a:gd name="connsiteX0" fmla="*/ 841 w 46809"/>
                <a:gd name="connsiteY0" fmla="*/ 39503 h 259597"/>
                <a:gd name="connsiteX1" fmla="*/ 5084 w 46809"/>
                <a:gd name="connsiteY1" fmla="*/ 63031 h 259597"/>
                <a:gd name="connsiteX2" fmla="*/ 15672 w 46809"/>
                <a:gd name="connsiteY2" fmla="*/ 136744 h 259597"/>
                <a:gd name="connsiteX3" fmla="*/ 31564 w 46809"/>
                <a:gd name="connsiteY3" fmla="*/ 246738 h 259597"/>
                <a:gd name="connsiteX4" fmla="*/ 38989 w 46809"/>
                <a:gd name="connsiteY4" fmla="*/ 259585 h 259597"/>
                <a:gd name="connsiteX5" fmla="*/ 43232 w 46809"/>
                <a:gd name="connsiteY5" fmla="*/ 194423 h 259597"/>
                <a:gd name="connsiteX6" fmla="*/ 36877 w 46809"/>
                <a:gd name="connsiteY6" fmla="*/ -12 h 259597"/>
                <a:gd name="connsiteX7" fmla="*/ 16723 w 46809"/>
                <a:gd name="connsiteY7" fmla="*/ 14954 h 259597"/>
                <a:gd name="connsiteX8" fmla="*/ -220 w 46809"/>
                <a:gd name="connsiteY8" fmla="*/ 33098 h 259597"/>
                <a:gd name="connsiteX9" fmla="*/ 12499 w 46809"/>
                <a:gd name="connsiteY9" fmla="*/ 21349 h 259597"/>
                <a:gd name="connsiteX10" fmla="*/ 22046 w 46809"/>
                <a:gd name="connsiteY10" fmla="*/ 17082 h 259597"/>
                <a:gd name="connsiteX11" fmla="*/ 841 w 46809"/>
                <a:gd name="connsiteY11" fmla="*/ 39503 h 25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09" h="259597">
                  <a:moveTo>
                    <a:pt x="841" y="39503"/>
                  </a:moveTo>
                  <a:cubicBezTo>
                    <a:pt x="-51" y="43798"/>
                    <a:pt x="3816" y="54355"/>
                    <a:pt x="5084" y="63031"/>
                  </a:cubicBezTo>
                  <a:cubicBezTo>
                    <a:pt x="8876" y="89339"/>
                    <a:pt x="12574" y="112242"/>
                    <a:pt x="15672" y="136744"/>
                  </a:cubicBezTo>
                  <a:cubicBezTo>
                    <a:pt x="20056" y="171104"/>
                    <a:pt x="22243" y="220666"/>
                    <a:pt x="31564" y="246738"/>
                  </a:cubicBezTo>
                  <a:cubicBezTo>
                    <a:pt x="33179" y="251913"/>
                    <a:pt x="32212" y="259632"/>
                    <a:pt x="38989" y="259585"/>
                  </a:cubicBezTo>
                  <a:cubicBezTo>
                    <a:pt x="52347" y="246294"/>
                    <a:pt x="44246" y="217563"/>
                    <a:pt x="43232" y="194423"/>
                  </a:cubicBezTo>
                  <a:cubicBezTo>
                    <a:pt x="40369" y="128836"/>
                    <a:pt x="38107" y="63570"/>
                    <a:pt x="36877" y="-12"/>
                  </a:cubicBezTo>
                  <a:cubicBezTo>
                    <a:pt x="31085" y="5910"/>
                    <a:pt x="23426" y="9722"/>
                    <a:pt x="16723" y="14954"/>
                  </a:cubicBezTo>
                  <a:cubicBezTo>
                    <a:pt x="10594" y="19741"/>
                    <a:pt x="2746" y="25209"/>
                    <a:pt x="-220" y="33098"/>
                  </a:cubicBezTo>
                  <a:cubicBezTo>
                    <a:pt x="2943" y="33411"/>
                    <a:pt x="16620" y="21689"/>
                    <a:pt x="12499" y="21349"/>
                  </a:cubicBezTo>
                  <a:cubicBezTo>
                    <a:pt x="15484" y="19741"/>
                    <a:pt x="17399" y="17044"/>
                    <a:pt x="22046" y="17082"/>
                  </a:cubicBezTo>
                  <a:cubicBezTo>
                    <a:pt x="20610" y="25502"/>
                    <a:pt x="2953" y="29154"/>
                    <a:pt x="841" y="39503"/>
                  </a:cubicBezTo>
                  <a:close/>
                </a:path>
              </a:pathLst>
            </a:custGeom>
            <a:solidFill>
              <a:schemeClr val="bg1"/>
            </a:solidFill>
            <a:ln w="9318" cap="flat">
              <a:noFill/>
              <a:prstDash val="solid"/>
              <a:round/>
            </a:ln>
          </p:spPr>
          <p:txBody>
            <a:bodyPr rtlCol="0" anchor="ctr"/>
            <a:lstStyle/>
            <a:p>
              <a:endParaRPr lang="en-LT"/>
            </a:p>
          </p:txBody>
        </p:sp>
        <p:sp>
          <p:nvSpPr>
            <p:cNvPr id="394" name="Freeform 393">
              <a:hlinkClick r:id="rId14" action="ppaction://hlinksldjump"/>
              <a:extLst>
                <a:ext uri="{FF2B5EF4-FFF2-40B4-BE49-F238E27FC236}">
                  <a16:creationId xmlns:a16="http://schemas.microsoft.com/office/drawing/2014/main" id="{C5A56C91-8032-8E41-8DDB-E9861C2752EB}"/>
                </a:ext>
              </a:extLst>
            </p:cNvPr>
            <p:cNvSpPr/>
            <p:nvPr/>
          </p:nvSpPr>
          <p:spPr>
            <a:xfrm>
              <a:off x="6136180" y="2432509"/>
              <a:ext cx="664765" cy="1461271"/>
            </a:xfrm>
            <a:custGeom>
              <a:avLst/>
              <a:gdLst>
                <a:gd name="connsiteX0" fmla="*/ 55033 w 243970"/>
                <a:gd name="connsiteY0" fmla="*/ 116443 h 536289"/>
                <a:gd name="connsiteX1" fmla="*/ 57155 w 243970"/>
                <a:gd name="connsiteY1" fmla="*/ 119631 h 536289"/>
                <a:gd name="connsiteX2" fmla="*/ 77308 w 243970"/>
                <a:gd name="connsiteY2" fmla="*/ 92925 h 536289"/>
                <a:gd name="connsiteX3" fmla="*/ 78360 w 243970"/>
                <a:gd name="connsiteY3" fmla="*/ 101467 h 536289"/>
                <a:gd name="connsiteX4" fmla="*/ 78360 w 243970"/>
                <a:gd name="connsiteY4" fmla="*/ 88658 h 536289"/>
                <a:gd name="connsiteX5" fmla="*/ 95331 w 243970"/>
                <a:gd name="connsiteY5" fmla="*/ 176269 h 536289"/>
                <a:gd name="connsiteX6" fmla="*/ 101677 w 243970"/>
                <a:gd name="connsiteY6" fmla="*/ 227543 h 536289"/>
                <a:gd name="connsiteX7" fmla="*/ 81533 w 243970"/>
                <a:gd name="connsiteY7" fmla="*/ 276680 h 536289"/>
                <a:gd name="connsiteX8" fmla="*/ 30655 w 243970"/>
                <a:gd name="connsiteY8" fmla="*/ 189078 h 536289"/>
                <a:gd name="connsiteX9" fmla="*/ 55033 w 243970"/>
                <a:gd name="connsiteY9" fmla="*/ 116443 h 536289"/>
                <a:gd name="connsiteX10" fmla="*/ 99565 w 243970"/>
                <a:gd name="connsiteY10" fmla="*/ 312998 h 536289"/>
                <a:gd name="connsiteX11" fmla="*/ 101677 w 243970"/>
                <a:gd name="connsiteY11" fmla="*/ 286301 h 536289"/>
                <a:gd name="connsiteX12" fmla="*/ 99565 w 243970"/>
                <a:gd name="connsiteY12" fmla="*/ 312998 h 536289"/>
                <a:gd name="connsiteX13" fmla="*/ 118639 w 243970"/>
                <a:gd name="connsiteY13" fmla="*/ 255309 h 536289"/>
                <a:gd name="connsiteX14" fmla="*/ 134522 w 243970"/>
                <a:gd name="connsiteY14" fmla="*/ 258516 h 536289"/>
                <a:gd name="connsiteX15" fmla="*/ 134522 w 243970"/>
                <a:gd name="connsiteY15" fmla="*/ 254250 h 536289"/>
                <a:gd name="connsiteX16" fmla="*/ 112284 w 243970"/>
                <a:gd name="connsiteY16" fmla="*/ 251043 h 536289"/>
                <a:gd name="connsiteX17" fmla="*/ 112284 w 243970"/>
                <a:gd name="connsiteY17" fmla="*/ 249974 h 536289"/>
                <a:gd name="connsiteX18" fmla="*/ 184357 w 243970"/>
                <a:gd name="connsiteY18" fmla="*/ 251043 h 536289"/>
                <a:gd name="connsiteX19" fmla="*/ 121812 w 243970"/>
                <a:gd name="connsiteY19" fmla="*/ 260654 h 536289"/>
                <a:gd name="connsiteX20" fmla="*/ 120751 w 243970"/>
                <a:gd name="connsiteY20" fmla="*/ 265990 h 536289"/>
                <a:gd name="connsiteX21" fmla="*/ 115457 w 243970"/>
                <a:gd name="connsiteY21" fmla="*/ 260654 h 536289"/>
                <a:gd name="connsiteX22" fmla="*/ 103799 w 243970"/>
                <a:gd name="connsiteY22" fmla="*/ 256378 h 536289"/>
                <a:gd name="connsiteX23" fmla="*/ 118639 w 243970"/>
                <a:gd name="connsiteY23" fmla="*/ 255309 h 536289"/>
                <a:gd name="connsiteX24" fmla="*/ 152564 w 243970"/>
                <a:gd name="connsiteY24" fmla="*/ 205094 h 536289"/>
                <a:gd name="connsiteX25" fmla="*/ 151494 w 243970"/>
                <a:gd name="connsiteY25" fmla="*/ 190147 h 536289"/>
                <a:gd name="connsiteX26" fmla="*/ 152564 w 243970"/>
                <a:gd name="connsiteY26" fmla="*/ 205094 h 536289"/>
                <a:gd name="connsiteX27" fmla="*/ 152564 w 243970"/>
                <a:gd name="connsiteY27" fmla="*/ 173034 h 536289"/>
                <a:gd name="connsiteX28" fmla="*/ 144078 w 243970"/>
                <a:gd name="connsiteY28" fmla="*/ 171974 h 536289"/>
                <a:gd name="connsiteX29" fmla="*/ 152564 w 243970"/>
                <a:gd name="connsiteY29" fmla="*/ 173034 h 536289"/>
                <a:gd name="connsiteX30" fmla="*/ 150442 w 243970"/>
                <a:gd name="connsiteY30" fmla="*/ 127114 h 536289"/>
                <a:gd name="connsiteX31" fmla="*/ 150442 w 243970"/>
                <a:gd name="connsiteY31" fmla="*/ 142089 h 536289"/>
                <a:gd name="connsiteX32" fmla="*/ 143027 w 243970"/>
                <a:gd name="connsiteY32" fmla="*/ 141011 h 536289"/>
                <a:gd name="connsiteX33" fmla="*/ 150442 w 243970"/>
                <a:gd name="connsiteY33" fmla="*/ 127114 h 536289"/>
                <a:gd name="connsiteX34" fmla="*/ 181184 w 243970"/>
                <a:gd name="connsiteY34" fmla="*/ 75849 h 536289"/>
                <a:gd name="connsiteX35" fmla="*/ 175881 w 243970"/>
                <a:gd name="connsiteY35" fmla="*/ 148485 h 536289"/>
                <a:gd name="connsiteX36" fmla="*/ 174811 w 243970"/>
                <a:gd name="connsiteY36" fmla="*/ 147416 h 536289"/>
                <a:gd name="connsiteX37" fmla="*/ 181184 w 243970"/>
                <a:gd name="connsiteY37" fmla="*/ 75849 h 536289"/>
                <a:gd name="connsiteX38" fmla="*/ 192824 w 243970"/>
                <a:gd name="connsiteY38" fmla="*/ 56607 h 536289"/>
                <a:gd name="connsiteX39" fmla="*/ 192824 w 243970"/>
                <a:gd name="connsiteY39" fmla="*/ 66219 h 536289"/>
                <a:gd name="connsiteX40" fmla="*/ 192824 w 243970"/>
                <a:gd name="connsiteY40" fmla="*/ 56607 h 536289"/>
                <a:gd name="connsiteX41" fmla="*/ 199208 w 243970"/>
                <a:gd name="connsiteY41" fmla="*/ 123907 h 536289"/>
                <a:gd name="connsiteX42" fmla="*/ 201320 w 243970"/>
                <a:gd name="connsiteY42" fmla="*/ 118571 h 536289"/>
                <a:gd name="connsiteX43" fmla="*/ 199208 w 243970"/>
                <a:gd name="connsiteY43" fmla="*/ 123907 h 536289"/>
                <a:gd name="connsiteX44" fmla="*/ 209787 w 243970"/>
                <a:gd name="connsiteY44" fmla="*/ 258516 h 536289"/>
                <a:gd name="connsiteX45" fmla="*/ 90028 w 243970"/>
                <a:gd name="connsiteY45" fmla="*/ 363212 h 536289"/>
                <a:gd name="connsiteX46" fmla="*/ 209787 w 243970"/>
                <a:gd name="connsiteY46" fmla="*/ 258516 h 536289"/>
                <a:gd name="connsiteX47" fmla="*/ 211917 w 243970"/>
                <a:gd name="connsiteY47" fmla="*/ 14954 h 536289"/>
                <a:gd name="connsiteX48" fmla="*/ 209787 w 243970"/>
                <a:gd name="connsiteY48" fmla="*/ 36305 h 536289"/>
                <a:gd name="connsiteX49" fmla="*/ 211917 w 243970"/>
                <a:gd name="connsiteY49" fmla="*/ 14954 h 536289"/>
                <a:gd name="connsiteX50" fmla="*/ 222515 w 243970"/>
                <a:gd name="connsiteY50" fmla="*/ 413418 h 536289"/>
                <a:gd name="connsiteX51" fmla="*/ 221455 w 243970"/>
                <a:gd name="connsiteY51" fmla="*/ 387780 h 536289"/>
                <a:gd name="connsiteX52" fmla="*/ 222515 w 243970"/>
                <a:gd name="connsiteY52" fmla="*/ 413418 h 536289"/>
                <a:gd name="connsiteX53" fmla="*/ 198147 w 243970"/>
                <a:gd name="connsiteY53" fmla="*/ 333299 h 536289"/>
                <a:gd name="connsiteX54" fmla="*/ 204502 w 243970"/>
                <a:gd name="connsiteY54" fmla="*/ 364281 h 536289"/>
                <a:gd name="connsiteX55" fmla="*/ 198147 w 243970"/>
                <a:gd name="connsiteY55" fmla="*/ 333299 h 536289"/>
                <a:gd name="connsiteX56" fmla="*/ 157849 w 243970"/>
                <a:gd name="connsiteY56" fmla="*/ 443321 h 536289"/>
                <a:gd name="connsiteX57" fmla="*/ 137714 w 243970"/>
                <a:gd name="connsiteY57" fmla="*/ 443321 h 536289"/>
                <a:gd name="connsiteX58" fmla="*/ 153624 w 243970"/>
                <a:gd name="connsiteY58" fmla="*/ 442262 h 536289"/>
                <a:gd name="connsiteX59" fmla="*/ 157849 w 243970"/>
                <a:gd name="connsiteY59" fmla="*/ 443321 h 536289"/>
                <a:gd name="connsiteX60" fmla="*/ 136662 w 243970"/>
                <a:gd name="connsiteY60" fmla="*/ 408063 h 536289"/>
                <a:gd name="connsiteX61" fmla="*/ 137714 w 243970"/>
                <a:gd name="connsiteY61" fmla="*/ 418763 h 536289"/>
                <a:gd name="connsiteX62" fmla="*/ 136662 w 243970"/>
                <a:gd name="connsiteY62" fmla="*/ 408063 h 536289"/>
                <a:gd name="connsiteX63" fmla="*/ 152564 w 243970"/>
                <a:gd name="connsiteY63" fmla="*/ 409132 h 536289"/>
                <a:gd name="connsiteX64" fmla="*/ 154685 w 243970"/>
                <a:gd name="connsiteY64" fmla="*/ 419813 h 536289"/>
                <a:gd name="connsiteX65" fmla="*/ 152564 w 243970"/>
                <a:gd name="connsiteY65" fmla="*/ 409132 h 536289"/>
                <a:gd name="connsiteX66" fmla="*/ 50800 w 243970"/>
                <a:gd name="connsiteY66" fmla="*/ 283094 h 536289"/>
                <a:gd name="connsiteX67" fmla="*/ 65641 w 243970"/>
                <a:gd name="connsiteY67" fmla="*/ 312998 h 536289"/>
                <a:gd name="connsiteX68" fmla="*/ 40183 w 243970"/>
                <a:gd name="connsiteY68" fmla="*/ 338616 h 536289"/>
                <a:gd name="connsiteX69" fmla="*/ 69874 w 243970"/>
                <a:gd name="connsiteY69" fmla="*/ 358927 h 536289"/>
                <a:gd name="connsiteX70" fmla="*/ 69874 w 243970"/>
                <a:gd name="connsiteY70" fmla="*/ 373893 h 536289"/>
                <a:gd name="connsiteX71" fmla="*/ 90206 w 243970"/>
                <a:gd name="connsiteY71" fmla="*/ 354821 h 536289"/>
                <a:gd name="connsiteX72" fmla="*/ 99790 w 243970"/>
                <a:gd name="connsiteY72" fmla="*/ 344916 h 536289"/>
                <a:gd name="connsiteX73" fmla="*/ 118639 w 243970"/>
                <a:gd name="connsiteY73" fmla="*/ 327954 h 536289"/>
                <a:gd name="connsiteX74" fmla="*/ 99790 w 243970"/>
                <a:gd name="connsiteY74" fmla="*/ 344916 h 536289"/>
                <a:gd name="connsiteX75" fmla="*/ 90206 w 243970"/>
                <a:gd name="connsiteY75" fmla="*/ 354821 h 536289"/>
                <a:gd name="connsiteX76" fmla="*/ 87906 w 243970"/>
                <a:gd name="connsiteY76" fmla="*/ 360005 h 536289"/>
                <a:gd name="connsiteX77" fmla="*/ 85776 w 243970"/>
                <a:gd name="connsiteY77" fmla="*/ 379219 h 536289"/>
                <a:gd name="connsiteX78" fmla="*/ 86836 w 243970"/>
                <a:gd name="connsiteY78" fmla="*/ 361065 h 536289"/>
                <a:gd name="connsiteX79" fmla="*/ 71995 w 243970"/>
                <a:gd name="connsiteY79" fmla="*/ 397383 h 536289"/>
                <a:gd name="connsiteX80" fmla="*/ 214030 w 243970"/>
                <a:gd name="connsiteY80" fmla="*/ 269197 h 536289"/>
                <a:gd name="connsiteX81" fmla="*/ 87906 w 243970"/>
                <a:gd name="connsiteY81" fmla="*/ 384564 h 536289"/>
                <a:gd name="connsiteX82" fmla="*/ 73056 w 243970"/>
                <a:gd name="connsiteY82" fmla="*/ 404866 h 536289"/>
                <a:gd name="connsiteX83" fmla="*/ 218282 w 243970"/>
                <a:gd name="connsiteY83" fmla="*/ 280965 h 536289"/>
                <a:gd name="connsiteX84" fmla="*/ 91079 w 243970"/>
                <a:gd name="connsiteY84" fmla="*/ 392047 h 536289"/>
                <a:gd name="connsiteX85" fmla="*/ 75178 w 243970"/>
                <a:gd name="connsiteY85" fmla="*/ 420910 h 536289"/>
                <a:gd name="connsiteX86" fmla="*/ 225688 w 243970"/>
                <a:gd name="connsiteY86" fmla="*/ 289498 h 536289"/>
                <a:gd name="connsiteX87" fmla="*/ 147260 w 243970"/>
                <a:gd name="connsiteY87" fmla="*/ 356808 h 536289"/>
                <a:gd name="connsiteX88" fmla="*/ 144078 w 243970"/>
                <a:gd name="connsiteY88" fmla="*/ 355748 h 536289"/>
                <a:gd name="connsiteX89" fmla="*/ 76248 w 243970"/>
                <a:gd name="connsiteY89" fmla="*/ 426227 h 536289"/>
                <a:gd name="connsiteX90" fmla="*/ 79411 w 243970"/>
                <a:gd name="connsiteY90" fmla="*/ 454011 h 536289"/>
                <a:gd name="connsiteX91" fmla="*/ 92149 w 243970"/>
                <a:gd name="connsiteY91" fmla="*/ 459366 h 536289"/>
                <a:gd name="connsiteX92" fmla="*/ 104850 w 243970"/>
                <a:gd name="connsiteY92" fmla="*/ 536277 h 536289"/>
                <a:gd name="connsiteX93" fmla="*/ 145129 w 243970"/>
                <a:gd name="connsiteY93" fmla="*/ 499950 h 536289"/>
                <a:gd name="connsiteX94" fmla="*/ 144078 w 243970"/>
                <a:gd name="connsiteY94" fmla="*/ 460425 h 536289"/>
                <a:gd name="connsiteX95" fmla="*/ 166334 w 243970"/>
                <a:gd name="connsiteY95" fmla="*/ 461494 h 536289"/>
                <a:gd name="connsiteX96" fmla="*/ 169526 w 243970"/>
                <a:gd name="connsiteY96" fmla="*/ 486072 h 536289"/>
                <a:gd name="connsiteX97" fmla="*/ 209787 w 243970"/>
                <a:gd name="connsiteY97" fmla="*/ 457218 h 536289"/>
                <a:gd name="connsiteX98" fmla="*/ 188600 w 243970"/>
                <a:gd name="connsiteY98" fmla="*/ 473225 h 536289"/>
                <a:gd name="connsiteX99" fmla="*/ 171629 w 243970"/>
                <a:gd name="connsiteY99" fmla="*/ 505286 h 536289"/>
                <a:gd name="connsiteX100" fmla="*/ 214030 w 243970"/>
                <a:gd name="connsiteY100" fmla="*/ 472156 h 536289"/>
                <a:gd name="connsiteX101" fmla="*/ 212978 w 243970"/>
                <a:gd name="connsiteY101" fmla="*/ 456159 h 536289"/>
                <a:gd name="connsiteX102" fmla="*/ 236286 w 243970"/>
                <a:gd name="connsiteY102" fmla="*/ 451873 h 536289"/>
                <a:gd name="connsiteX103" fmla="*/ 242660 w 243970"/>
                <a:gd name="connsiteY103" fmla="*/ 390987 h 536289"/>
                <a:gd name="connsiteX104" fmla="*/ 242660 w 243970"/>
                <a:gd name="connsiteY104" fmla="*/ 340773 h 536289"/>
                <a:gd name="connsiteX105" fmla="*/ 237356 w 243970"/>
                <a:gd name="connsiteY105" fmla="*/ 319412 h 536289"/>
                <a:gd name="connsiteX106" fmla="*/ 226758 w 243970"/>
                <a:gd name="connsiteY106" fmla="*/ 265990 h 536289"/>
                <a:gd name="connsiteX107" fmla="*/ 208726 w 243970"/>
                <a:gd name="connsiteY107" fmla="*/ 218991 h 536289"/>
                <a:gd name="connsiteX108" fmla="*/ 211917 w 243970"/>
                <a:gd name="connsiteY108" fmla="*/ 95063 h 536289"/>
                <a:gd name="connsiteX109" fmla="*/ 222515 w 243970"/>
                <a:gd name="connsiteY109" fmla="*/ 110029 h 536289"/>
                <a:gd name="connsiteX110" fmla="*/ 228880 w 243970"/>
                <a:gd name="connsiteY110" fmla="*/ 13875 h 536289"/>
                <a:gd name="connsiteX111" fmla="*/ 206614 w 243970"/>
                <a:gd name="connsiteY111" fmla="*/ -12 h 536289"/>
                <a:gd name="connsiteX112" fmla="*/ 167386 w 243970"/>
                <a:gd name="connsiteY112" fmla="*/ 3214 h 536289"/>
                <a:gd name="connsiteX113" fmla="*/ 159979 w 243970"/>
                <a:gd name="connsiteY113" fmla="*/ 105762 h 536289"/>
                <a:gd name="connsiteX114" fmla="*/ 147260 w 243970"/>
                <a:gd name="connsiteY114" fmla="*/ 47005 h 536289"/>
                <a:gd name="connsiteX115" fmla="*/ 140896 w 243970"/>
                <a:gd name="connsiteY115" fmla="*/ 28832 h 536289"/>
                <a:gd name="connsiteX116" fmla="*/ 141947 w 243970"/>
                <a:gd name="connsiteY116" fmla="*/ 102536 h 536289"/>
                <a:gd name="connsiteX117" fmla="*/ 114406 w 243970"/>
                <a:gd name="connsiteY117" fmla="*/ 7471 h 536289"/>
                <a:gd name="connsiteX118" fmla="*/ 64570 w 243970"/>
                <a:gd name="connsiteY118" fmla="*/ 9609 h 536289"/>
                <a:gd name="connsiteX119" fmla="*/ 75178 w 243970"/>
                <a:gd name="connsiteY119" fmla="*/ 72642 h 536289"/>
                <a:gd name="connsiteX120" fmla="*/ 63519 w 243970"/>
                <a:gd name="connsiteY120" fmla="*/ 21358 h 536289"/>
                <a:gd name="connsiteX121" fmla="*/ 67752 w 243970"/>
                <a:gd name="connsiteY121" fmla="*/ 82254 h 536289"/>
                <a:gd name="connsiteX122" fmla="*/ 60337 w 243970"/>
                <a:gd name="connsiteY122" fmla="*/ 16023 h 536289"/>
                <a:gd name="connsiteX123" fmla="*/ 55033 w 243970"/>
                <a:gd name="connsiteY123" fmla="*/ 102536 h 536289"/>
                <a:gd name="connsiteX124" fmla="*/ 50800 w 243970"/>
                <a:gd name="connsiteY124" fmla="*/ 33098 h 536289"/>
                <a:gd name="connsiteX125" fmla="*/ 48669 w 243970"/>
                <a:gd name="connsiteY125" fmla="*/ 111098 h 536289"/>
                <a:gd name="connsiteX126" fmla="*/ 42314 w 243970"/>
                <a:gd name="connsiteY126" fmla="*/ 55529 h 536289"/>
                <a:gd name="connsiteX127" fmla="*/ -96 w 243970"/>
                <a:gd name="connsiteY127" fmla="*/ 185890 h 536289"/>
                <a:gd name="connsiteX128" fmla="*/ 14763 w 243970"/>
                <a:gd name="connsiteY128" fmla="*/ 229672 h 536289"/>
                <a:gd name="connsiteX129" fmla="*/ 50800 w 243970"/>
                <a:gd name="connsiteY129" fmla="*/ 283094 h 53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43970" h="536289">
                  <a:moveTo>
                    <a:pt x="55033" y="116443"/>
                  </a:moveTo>
                  <a:cubicBezTo>
                    <a:pt x="57295" y="115941"/>
                    <a:pt x="57051" y="117975"/>
                    <a:pt x="57155" y="119631"/>
                  </a:cubicBezTo>
                  <a:cubicBezTo>
                    <a:pt x="63266" y="110114"/>
                    <a:pt x="67818" y="99027"/>
                    <a:pt x="77308" y="92925"/>
                  </a:cubicBezTo>
                  <a:cubicBezTo>
                    <a:pt x="76492" y="96945"/>
                    <a:pt x="78585" y="98043"/>
                    <a:pt x="78360" y="101467"/>
                  </a:cubicBezTo>
                  <a:cubicBezTo>
                    <a:pt x="81044" y="98696"/>
                    <a:pt x="76877" y="93757"/>
                    <a:pt x="78360" y="88658"/>
                  </a:cubicBezTo>
                  <a:cubicBezTo>
                    <a:pt x="82011" y="119849"/>
                    <a:pt x="89530" y="147463"/>
                    <a:pt x="95331" y="176269"/>
                  </a:cubicBezTo>
                  <a:cubicBezTo>
                    <a:pt x="98636" y="192796"/>
                    <a:pt x="103423" y="212369"/>
                    <a:pt x="101677" y="227543"/>
                  </a:cubicBezTo>
                  <a:cubicBezTo>
                    <a:pt x="99565" y="245906"/>
                    <a:pt x="81420" y="256142"/>
                    <a:pt x="81533" y="276680"/>
                  </a:cubicBezTo>
                  <a:cubicBezTo>
                    <a:pt x="65781" y="246265"/>
                    <a:pt x="47073" y="218812"/>
                    <a:pt x="30655" y="189078"/>
                  </a:cubicBezTo>
                  <a:cubicBezTo>
                    <a:pt x="33500" y="159544"/>
                    <a:pt x="53963" y="147737"/>
                    <a:pt x="55033" y="116443"/>
                  </a:cubicBezTo>
                  <a:close/>
                  <a:moveTo>
                    <a:pt x="99565" y="312998"/>
                  </a:moveTo>
                  <a:cubicBezTo>
                    <a:pt x="96589" y="304635"/>
                    <a:pt x="101179" y="294692"/>
                    <a:pt x="101677" y="286301"/>
                  </a:cubicBezTo>
                  <a:cubicBezTo>
                    <a:pt x="103855" y="293841"/>
                    <a:pt x="99640" y="304152"/>
                    <a:pt x="99565" y="312998"/>
                  </a:cubicBezTo>
                  <a:close/>
                  <a:moveTo>
                    <a:pt x="118639" y="255309"/>
                  </a:moveTo>
                  <a:cubicBezTo>
                    <a:pt x="119296" y="261052"/>
                    <a:pt x="129115" y="257570"/>
                    <a:pt x="134522" y="258516"/>
                  </a:cubicBezTo>
                  <a:lnTo>
                    <a:pt x="134522" y="254250"/>
                  </a:lnTo>
                  <a:cubicBezTo>
                    <a:pt x="128449" y="251837"/>
                    <a:pt x="119963" y="251837"/>
                    <a:pt x="112284" y="251043"/>
                  </a:cubicBezTo>
                  <a:cubicBezTo>
                    <a:pt x="110191" y="250059"/>
                    <a:pt x="110191" y="247457"/>
                    <a:pt x="112284" y="249974"/>
                  </a:cubicBezTo>
                  <a:cubicBezTo>
                    <a:pt x="134672" y="252490"/>
                    <a:pt x="167442" y="256482"/>
                    <a:pt x="184357" y="251043"/>
                  </a:cubicBezTo>
                  <a:cubicBezTo>
                    <a:pt x="167010" y="257769"/>
                    <a:pt x="146509" y="261326"/>
                    <a:pt x="121812" y="260654"/>
                  </a:cubicBezTo>
                  <a:cubicBezTo>
                    <a:pt x="117963" y="261326"/>
                    <a:pt x="124281" y="265649"/>
                    <a:pt x="120751" y="265990"/>
                  </a:cubicBezTo>
                  <a:cubicBezTo>
                    <a:pt x="115429" y="267797"/>
                    <a:pt x="117043" y="262603"/>
                    <a:pt x="115457" y="260654"/>
                  </a:cubicBezTo>
                  <a:cubicBezTo>
                    <a:pt x="110623" y="260172"/>
                    <a:pt x="107581" y="257911"/>
                    <a:pt x="103799" y="256378"/>
                  </a:cubicBezTo>
                  <a:cubicBezTo>
                    <a:pt x="108576" y="253871"/>
                    <a:pt x="114809" y="261988"/>
                    <a:pt x="118639" y="255309"/>
                  </a:cubicBezTo>
                  <a:close/>
                  <a:moveTo>
                    <a:pt x="152564" y="205094"/>
                  </a:moveTo>
                  <a:cubicBezTo>
                    <a:pt x="142276" y="208273"/>
                    <a:pt x="140079" y="187565"/>
                    <a:pt x="151494" y="190147"/>
                  </a:cubicBezTo>
                  <a:cubicBezTo>
                    <a:pt x="154779" y="192465"/>
                    <a:pt x="156403" y="201963"/>
                    <a:pt x="152564" y="205094"/>
                  </a:cubicBezTo>
                  <a:close/>
                  <a:moveTo>
                    <a:pt x="152564" y="173034"/>
                  </a:moveTo>
                  <a:cubicBezTo>
                    <a:pt x="148912" y="173526"/>
                    <a:pt x="146622" y="172636"/>
                    <a:pt x="144078" y="171974"/>
                  </a:cubicBezTo>
                  <a:cubicBezTo>
                    <a:pt x="132166" y="147936"/>
                    <a:pt x="162899" y="151701"/>
                    <a:pt x="152564" y="173034"/>
                  </a:cubicBezTo>
                  <a:close/>
                  <a:moveTo>
                    <a:pt x="150442" y="127114"/>
                  </a:moveTo>
                  <a:cubicBezTo>
                    <a:pt x="153071" y="129867"/>
                    <a:pt x="153840" y="139526"/>
                    <a:pt x="150442" y="142089"/>
                  </a:cubicBezTo>
                  <a:cubicBezTo>
                    <a:pt x="146997" y="142695"/>
                    <a:pt x="145514" y="141352"/>
                    <a:pt x="143027" y="141011"/>
                  </a:cubicBezTo>
                  <a:cubicBezTo>
                    <a:pt x="140248" y="134796"/>
                    <a:pt x="141534" y="121561"/>
                    <a:pt x="150442" y="127114"/>
                  </a:cubicBezTo>
                  <a:close/>
                  <a:moveTo>
                    <a:pt x="181184" y="75849"/>
                  </a:moveTo>
                  <a:cubicBezTo>
                    <a:pt x="180706" y="97078"/>
                    <a:pt x="174876" y="122176"/>
                    <a:pt x="175881" y="148485"/>
                  </a:cubicBezTo>
                  <a:cubicBezTo>
                    <a:pt x="176388" y="153508"/>
                    <a:pt x="173966" y="151067"/>
                    <a:pt x="174811" y="147416"/>
                  </a:cubicBezTo>
                  <a:cubicBezTo>
                    <a:pt x="174830" y="121419"/>
                    <a:pt x="173356" y="93965"/>
                    <a:pt x="181184" y="75849"/>
                  </a:cubicBezTo>
                  <a:close/>
                  <a:moveTo>
                    <a:pt x="192824" y="56607"/>
                  </a:moveTo>
                  <a:cubicBezTo>
                    <a:pt x="195462" y="58300"/>
                    <a:pt x="193266" y="64081"/>
                    <a:pt x="192824" y="66219"/>
                  </a:cubicBezTo>
                  <a:cubicBezTo>
                    <a:pt x="191125" y="63286"/>
                    <a:pt x="190018" y="58537"/>
                    <a:pt x="192824" y="56607"/>
                  </a:cubicBezTo>
                  <a:close/>
                  <a:moveTo>
                    <a:pt x="199208" y="123907"/>
                  </a:moveTo>
                  <a:cubicBezTo>
                    <a:pt x="200756" y="123008"/>
                    <a:pt x="200728" y="120473"/>
                    <a:pt x="201320" y="118571"/>
                  </a:cubicBezTo>
                  <a:cubicBezTo>
                    <a:pt x="203385" y="118552"/>
                    <a:pt x="197959" y="144540"/>
                    <a:pt x="199208" y="123907"/>
                  </a:cubicBezTo>
                  <a:close/>
                  <a:moveTo>
                    <a:pt x="209787" y="258516"/>
                  </a:moveTo>
                  <a:cubicBezTo>
                    <a:pt x="171713" y="290993"/>
                    <a:pt x="126158" y="325192"/>
                    <a:pt x="90028" y="363212"/>
                  </a:cubicBezTo>
                  <a:cubicBezTo>
                    <a:pt x="122798" y="325381"/>
                    <a:pt x="167789" y="290605"/>
                    <a:pt x="209787" y="258516"/>
                  </a:cubicBezTo>
                  <a:close/>
                  <a:moveTo>
                    <a:pt x="211917" y="14954"/>
                  </a:moveTo>
                  <a:cubicBezTo>
                    <a:pt x="216480" y="19135"/>
                    <a:pt x="212293" y="30128"/>
                    <a:pt x="209787" y="36305"/>
                  </a:cubicBezTo>
                  <a:cubicBezTo>
                    <a:pt x="207139" y="30062"/>
                    <a:pt x="212077" y="22248"/>
                    <a:pt x="211917" y="14954"/>
                  </a:cubicBezTo>
                  <a:close/>
                  <a:moveTo>
                    <a:pt x="222515" y="413418"/>
                  </a:moveTo>
                  <a:cubicBezTo>
                    <a:pt x="223332" y="403664"/>
                    <a:pt x="221060" y="397089"/>
                    <a:pt x="221455" y="387780"/>
                  </a:cubicBezTo>
                  <a:cubicBezTo>
                    <a:pt x="222600" y="394261"/>
                    <a:pt x="227631" y="407675"/>
                    <a:pt x="222515" y="413418"/>
                  </a:cubicBezTo>
                  <a:close/>
                  <a:moveTo>
                    <a:pt x="198147" y="333299"/>
                  </a:moveTo>
                  <a:cubicBezTo>
                    <a:pt x="201930" y="341927"/>
                    <a:pt x="202624" y="353705"/>
                    <a:pt x="204502" y="364281"/>
                  </a:cubicBezTo>
                  <a:cubicBezTo>
                    <a:pt x="201733" y="358870"/>
                    <a:pt x="199151" y="344027"/>
                    <a:pt x="198147" y="333299"/>
                  </a:cubicBezTo>
                  <a:close/>
                  <a:moveTo>
                    <a:pt x="157849" y="443321"/>
                  </a:moveTo>
                  <a:lnTo>
                    <a:pt x="137714" y="443321"/>
                  </a:lnTo>
                  <a:cubicBezTo>
                    <a:pt x="139460" y="436179"/>
                    <a:pt x="149494" y="439906"/>
                    <a:pt x="153624" y="442262"/>
                  </a:cubicBezTo>
                  <a:cubicBezTo>
                    <a:pt x="160909" y="441439"/>
                    <a:pt x="170418" y="443586"/>
                    <a:pt x="157849" y="443321"/>
                  </a:cubicBezTo>
                  <a:close/>
                  <a:moveTo>
                    <a:pt x="136662" y="408063"/>
                  </a:moveTo>
                  <a:cubicBezTo>
                    <a:pt x="137695" y="410305"/>
                    <a:pt x="139384" y="417334"/>
                    <a:pt x="137714" y="418763"/>
                  </a:cubicBezTo>
                  <a:cubicBezTo>
                    <a:pt x="132541" y="417921"/>
                    <a:pt x="137638" y="411544"/>
                    <a:pt x="136662" y="408063"/>
                  </a:cubicBezTo>
                  <a:close/>
                  <a:moveTo>
                    <a:pt x="152564" y="409132"/>
                  </a:moveTo>
                  <a:cubicBezTo>
                    <a:pt x="154159" y="411790"/>
                    <a:pt x="154601" y="415631"/>
                    <a:pt x="154685" y="419813"/>
                  </a:cubicBezTo>
                  <a:cubicBezTo>
                    <a:pt x="150987" y="419283"/>
                    <a:pt x="153118" y="412831"/>
                    <a:pt x="152564" y="409132"/>
                  </a:cubicBezTo>
                  <a:close/>
                  <a:moveTo>
                    <a:pt x="50800" y="283094"/>
                  </a:moveTo>
                  <a:cubicBezTo>
                    <a:pt x="56188" y="291211"/>
                    <a:pt x="66786" y="304029"/>
                    <a:pt x="65641" y="312998"/>
                  </a:cubicBezTo>
                  <a:cubicBezTo>
                    <a:pt x="64148" y="324709"/>
                    <a:pt x="41685" y="328039"/>
                    <a:pt x="40183" y="338616"/>
                  </a:cubicBezTo>
                  <a:cubicBezTo>
                    <a:pt x="38005" y="354405"/>
                    <a:pt x="54667" y="358643"/>
                    <a:pt x="69874" y="358927"/>
                  </a:cubicBezTo>
                  <a:lnTo>
                    <a:pt x="69874" y="373893"/>
                  </a:lnTo>
                  <a:cubicBezTo>
                    <a:pt x="76877" y="368368"/>
                    <a:pt x="83607" y="361632"/>
                    <a:pt x="90206" y="354821"/>
                  </a:cubicBezTo>
                  <a:cubicBezTo>
                    <a:pt x="92525" y="351046"/>
                    <a:pt x="96017" y="347887"/>
                    <a:pt x="99790" y="344916"/>
                  </a:cubicBezTo>
                  <a:cubicBezTo>
                    <a:pt x="106108" y="338474"/>
                    <a:pt x="112359" y="332457"/>
                    <a:pt x="118639" y="327954"/>
                  </a:cubicBezTo>
                  <a:cubicBezTo>
                    <a:pt x="114988" y="334520"/>
                    <a:pt x="106877" y="339363"/>
                    <a:pt x="99790" y="344916"/>
                  </a:cubicBezTo>
                  <a:cubicBezTo>
                    <a:pt x="96617" y="348161"/>
                    <a:pt x="93426" y="351491"/>
                    <a:pt x="90206" y="354821"/>
                  </a:cubicBezTo>
                  <a:cubicBezTo>
                    <a:pt x="89202" y="356429"/>
                    <a:pt x="88404" y="358142"/>
                    <a:pt x="87906" y="360005"/>
                  </a:cubicBezTo>
                  <a:cubicBezTo>
                    <a:pt x="86404" y="365473"/>
                    <a:pt x="90535" y="373524"/>
                    <a:pt x="85776" y="379219"/>
                  </a:cubicBezTo>
                  <a:cubicBezTo>
                    <a:pt x="85757" y="372777"/>
                    <a:pt x="85438" y="366088"/>
                    <a:pt x="86836" y="361065"/>
                  </a:cubicBezTo>
                  <a:cubicBezTo>
                    <a:pt x="77618" y="365038"/>
                    <a:pt x="66288" y="377876"/>
                    <a:pt x="71995" y="397383"/>
                  </a:cubicBezTo>
                  <a:cubicBezTo>
                    <a:pt x="117700" y="353005"/>
                    <a:pt x="162091" y="307293"/>
                    <a:pt x="214030" y="269197"/>
                  </a:cubicBezTo>
                  <a:cubicBezTo>
                    <a:pt x="169742" y="305240"/>
                    <a:pt x="127078" y="345058"/>
                    <a:pt x="87906" y="384564"/>
                  </a:cubicBezTo>
                  <a:cubicBezTo>
                    <a:pt x="82349" y="390155"/>
                    <a:pt x="74164" y="396200"/>
                    <a:pt x="73056" y="404866"/>
                  </a:cubicBezTo>
                  <a:cubicBezTo>
                    <a:pt x="118855" y="365208"/>
                    <a:pt x="164926" y="316536"/>
                    <a:pt x="218282" y="280965"/>
                  </a:cubicBezTo>
                  <a:cubicBezTo>
                    <a:pt x="176791" y="314445"/>
                    <a:pt x="130504" y="353090"/>
                    <a:pt x="91079" y="392047"/>
                  </a:cubicBezTo>
                  <a:cubicBezTo>
                    <a:pt x="81908" y="401100"/>
                    <a:pt x="70109" y="406966"/>
                    <a:pt x="75178" y="420910"/>
                  </a:cubicBezTo>
                  <a:cubicBezTo>
                    <a:pt x="122338" y="374792"/>
                    <a:pt x="170155" y="323602"/>
                    <a:pt x="225688" y="289498"/>
                  </a:cubicBezTo>
                  <a:cubicBezTo>
                    <a:pt x="200531" y="312903"/>
                    <a:pt x="167649" y="328550"/>
                    <a:pt x="147260" y="356808"/>
                  </a:cubicBezTo>
                  <a:cubicBezTo>
                    <a:pt x="147983" y="353241"/>
                    <a:pt x="145064" y="355076"/>
                    <a:pt x="144078" y="355748"/>
                  </a:cubicBezTo>
                  <a:cubicBezTo>
                    <a:pt x="121981" y="379749"/>
                    <a:pt x="95960" y="399833"/>
                    <a:pt x="76248" y="426227"/>
                  </a:cubicBezTo>
                  <a:cubicBezTo>
                    <a:pt x="78031" y="435327"/>
                    <a:pt x="81279" y="444182"/>
                    <a:pt x="79411" y="454011"/>
                  </a:cubicBezTo>
                  <a:cubicBezTo>
                    <a:pt x="81805" y="457663"/>
                    <a:pt x="88366" y="457105"/>
                    <a:pt x="92149" y="459366"/>
                  </a:cubicBezTo>
                  <a:cubicBezTo>
                    <a:pt x="97481" y="483887"/>
                    <a:pt x="102118" y="509108"/>
                    <a:pt x="104850" y="536277"/>
                  </a:cubicBezTo>
                  <a:cubicBezTo>
                    <a:pt x="117372" y="527498"/>
                    <a:pt x="132203" y="511832"/>
                    <a:pt x="145129" y="499950"/>
                  </a:cubicBezTo>
                  <a:cubicBezTo>
                    <a:pt x="145946" y="485590"/>
                    <a:pt x="143749" y="474285"/>
                    <a:pt x="144078" y="460425"/>
                  </a:cubicBezTo>
                  <a:cubicBezTo>
                    <a:pt x="151165" y="461116"/>
                    <a:pt x="161040" y="459016"/>
                    <a:pt x="166334" y="461494"/>
                  </a:cubicBezTo>
                  <a:cubicBezTo>
                    <a:pt x="168493" y="468580"/>
                    <a:pt x="167527" y="478807"/>
                    <a:pt x="169526" y="486072"/>
                  </a:cubicBezTo>
                  <a:cubicBezTo>
                    <a:pt x="181260" y="479724"/>
                    <a:pt x="197677" y="463150"/>
                    <a:pt x="209787" y="457218"/>
                  </a:cubicBezTo>
                  <a:cubicBezTo>
                    <a:pt x="204455" y="461580"/>
                    <a:pt x="196851" y="466603"/>
                    <a:pt x="188600" y="473225"/>
                  </a:cubicBezTo>
                  <a:cubicBezTo>
                    <a:pt x="177880" y="481862"/>
                    <a:pt x="164626" y="488380"/>
                    <a:pt x="171629" y="505286"/>
                  </a:cubicBezTo>
                  <a:cubicBezTo>
                    <a:pt x="186329" y="494813"/>
                    <a:pt x="200334" y="483650"/>
                    <a:pt x="214030" y="472156"/>
                  </a:cubicBezTo>
                  <a:cubicBezTo>
                    <a:pt x="212856" y="467653"/>
                    <a:pt x="212809" y="462015"/>
                    <a:pt x="212978" y="456159"/>
                  </a:cubicBezTo>
                  <a:cubicBezTo>
                    <a:pt x="222628" y="456613"/>
                    <a:pt x="230447" y="455232"/>
                    <a:pt x="236286" y="451873"/>
                  </a:cubicBezTo>
                  <a:cubicBezTo>
                    <a:pt x="242416" y="433208"/>
                    <a:pt x="241055" y="412226"/>
                    <a:pt x="242660" y="390987"/>
                  </a:cubicBezTo>
                  <a:cubicBezTo>
                    <a:pt x="243946" y="374044"/>
                    <a:pt x="244274" y="355341"/>
                    <a:pt x="242660" y="340773"/>
                  </a:cubicBezTo>
                  <a:cubicBezTo>
                    <a:pt x="241815" y="333138"/>
                    <a:pt x="238342" y="326459"/>
                    <a:pt x="237356" y="319412"/>
                  </a:cubicBezTo>
                  <a:cubicBezTo>
                    <a:pt x="234596" y="299668"/>
                    <a:pt x="232634" y="283661"/>
                    <a:pt x="226758" y="265990"/>
                  </a:cubicBezTo>
                  <a:cubicBezTo>
                    <a:pt x="221558" y="250390"/>
                    <a:pt x="214086" y="235263"/>
                    <a:pt x="208726" y="218991"/>
                  </a:cubicBezTo>
                  <a:cubicBezTo>
                    <a:pt x="196758" y="182428"/>
                    <a:pt x="208604" y="138551"/>
                    <a:pt x="211917" y="95063"/>
                  </a:cubicBezTo>
                  <a:cubicBezTo>
                    <a:pt x="217146" y="98336"/>
                    <a:pt x="217634" y="106396"/>
                    <a:pt x="222515" y="110029"/>
                  </a:cubicBezTo>
                  <a:cubicBezTo>
                    <a:pt x="222074" y="75376"/>
                    <a:pt x="222938" y="42086"/>
                    <a:pt x="228880" y="13875"/>
                  </a:cubicBezTo>
                  <a:cubicBezTo>
                    <a:pt x="224731" y="3989"/>
                    <a:pt x="212359" y="6411"/>
                    <a:pt x="206614" y="-12"/>
                  </a:cubicBezTo>
                  <a:cubicBezTo>
                    <a:pt x="194354" y="1899"/>
                    <a:pt x="180837" y="2495"/>
                    <a:pt x="167386" y="3214"/>
                  </a:cubicBezTo>
                  <a:cubicBezTo>
                    <a:pt x="167376" y="39863"/>
                    <a:pt x="162195" y="71308"/>
                    <a:pt x="159979" y="105762"/>
                  </a:cubicBezTo>
                  <a:cubicBezTo>
                    <a:pt x="155098" y="88138"/>
                    <a:pt x="150611" y="64658"/>
                    <a:pt x="147260" y="47005"/>
                  </a:cubicBezTo>
                  <a:cubicBezTo>
                    <a:pt x="146077" y="40771"/>
                    <a:pt x="147833" y="31339"/>
                    <a:pt x="140896" y="28832"/>
                  </a:cubicBezTo>
                  <a:cubicBezTo>
                    <a:pt x="140323" y="49370"/>
                    <a:pt x="141074" y="83484"/>
                    <a:pt x="141947" y="102536"/>
                  </a:cubicBezTo>
                  <a:cubicBezTo>
                    <a:pt x="128195" y="73531"/>
                    <a:pt x="127200" y="37829"/>
                    <a:pt x="114406" y="7471"/>
                  </a:cubicBezTo>
                  <a:cubicBezTo>
                    <a:pt x="96326" y="8133"/>
                    <a:pt x="75713" y="7745"/>
                    <a:pt x="64570" y="9609"/>
                  </a:cubicBezTo>
                  <a:cubicBezTo>
                    <a:pt x="65237" y="28633"/>
                    <a:pt x="75422" y="52728"/>
                    <a:pt x="75178" y="72642"/>
                  </a:cubicBezTo>
                  <a:cubicBezTo>
                    <a:pt x="69799" y="57042"/>
                    <a:pt x="69273" y="36580"/>
                    <a:pt x="63519" y="21358"/>
                  </a:cubicBezTo>
                  <a:cubicBezTo>
                    <a:pt x="63735" y="41518"/>
                    <a:pt x="72286" y="64412"/>
                    <a:pt x="67752" y="82254"/>
                  </a:cubicBezTo>
                  <a:cubicBezTo>
                    <a:pt x="66823" y="58622"/>
                    <a:pt x="64148" y="36760"/>
                    <a:pt x="60337" y="16023"/>
                  </a:cubicBezTo>
                  <a:cubicBezTo>
                    <a:pt x="46069" y="35539"/>
                    <a:pt x="59361" y="76559"/>
                    <a:pt x="55033" y="102536"/>
                  </a:cubicBezTo>
                  <a:cubicBezTo>
                    <a:pt x="52593" y="80456"/>
                    <a:pt x="53775" y="54668"/>
                    <a:pt x="50800" y="33098"/>
                  </a:cubicBezTo>
                  <a:cubicBezTo>
                    <a:pt x="37949" y="53353"/>
                    <a:pt x="53240" y="84108"/>
                    <a:pt x="48669" y="111098"/>
                  </a:cubicBezTo>
                  <a:cubicBezTo>
                    <a:pt x="47120" y="92007"/>
                    <a:pt x="46773" y="71696"/>
                    <a:pt x="42314" y="55529"/>
                  </a:cubicBezTo>
                  <a:cubicBezTo>
                    <a:pt x="29623" y="102026"/>
                    <a:pt x="2804" y="138107"/>
                    <a:pt x="-96" y="185890"/>
                  </a:cubicBezTo>
                  <a:cubicBezTo>
                    <a:pt x="-1298" y="206305"/>
                    <a:pt x="6456" y="215160"/>
                    <a:pt x="14763" y="229672"/>
                  </a:cubicBezTo>
                  <a:cubicBezTo>
                    <a:pt x="26929" y="251005"/>
                    <a:pt x="37311" y="262802"/>
                    <a:pt x="50800" y="283094"/>
                  </a:cubicBezTo>
                  <a:close/>
                </a:path>
              </a:pathLst>
            </a:custGeom>
            <a:solidFill>
              <a:schemeClr val="bg1"/>
            </a:solidFill>
            <a:ln w="9318" cap="flat">
              <a:noFill/>
              <a:prstDash val="solid"/>
              <a:round/>
            </a:ln>
          </p:spPr>
          <p:txBody>
            <a:bodyPr rtlCol="0" anchor="ctr"/>
            <a:lstStyle/>
            <a:p>
              <a:endParaRPr lang="en-LT"/>
            </a:p>
          </p:txBody>
        </p:sp>
        <p:sp>
          <p:nvSpPr>
            <p:cNvPr id="395" name="Freeform 394">
              <a:extLst>
                <a:ext uri="{FF2B5EF4-FFF2-40B4-BE49-F238E27FC236}">
                  <a16:creationId xmlns:a16="http://schemas.microsoft.com/office/drawing/2014/main" id="{F415629C-1382-604C-B9CC-B89B2284B8BC}"/>
                </a:ext>
              </a:extLst>
            </p:cNvPr>
            <p:cNvSpPr/>
            <p:nvPr/>
          </p:nvSpPr>
          <p:spPr>
            <a:xfrm>
              <a:off x="6606499" y="3730743"/>
              <a:ext cx="113463" cy="154274"/>
            </a:xfrm>
            <a:custGeom>
              <a:avLst/>
              <a:gdLst>
                <a:gd name="connsiteX0" fmla="*/ 1142 w 41641"/>
                <a:gd name="connsiteY0" fmla="*/ 43770 h 56619"/>
                <a:gd name="connsiteX1" fmla="*/ 7516 w 41641"/>
                <a:gd name="connsiteY1" fmla="*/ 41641 h 56619"/>
                <a:gd name="connsiteX2" fmla="*/ 2203 w 41641"/>
                <a:gd name="connsiteY2" fmla="*/ 56607 h 56619"/>
                <a:gd name="connsiteX3" fmla="*/ 41422 w 41641"/>
                <a:gd name="connsiteY3" fmla="*/ 27763 h 56619"/>
                <a:gd name="connsiteX4" fmla="*/ 41422 w 41641"/>
                <a:gd name="connsiteY4" fmla="*/ -12 h 56619"/>
                <a:gd name="connsiteX5" fmla="*/ 81 w 41641"/>
                <a:gd name="connsiteY5" fmla="*/ 33108 h 56619"/>
                <a:gd name="connsiteX6" fmla="*/ 1142 w 41641"/>
                <a:gd name="connsiteY6" fmla="*/ 43770 h 5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1" h="56619">
                  <a:moveTo>
                    <a:pt x="1142" y="43770"/>
                  </a:moveTo>
                  <a:cubicBezTo>
                    <a:pt x="2043" y="46664"/>
                    <a:pt x="6615" y="38784"/>
                    <a:pt x="7516" y="41641"/>
                  </a:cubicBezTo>
                  <a:cubicBezTo>
                    <a:pt x="1011" y="43770"/>
                    <a:pt x="832" y="48490"/>
                    <a:pt x="2203" y="56607"/>
                  </a:cubicBezTo>
                  <a:cubicBezTo>
                    <a:pt x="16133" y="47856"/>
                    <a:pt x="27670" y="36693"/>
                    <a:pt x="41422" y="27763"/>
                  </a:cubicBezTo>
                  <a:lnTo>
                    <a:pt x="41422" y="-12"/>
                  </a:lnTo>
                  <a:cubicBezTo>
                    <a:pt x="26365" y="9713"/>
                    <a:pt x="12575" y="20753"/>
                    <a:pt x="81" y="33108"/>
                  </a:cubicBezTo>
                  <a:cubicBezTo>
                    <a:pt x="-548" y="33486"/>
                    <a:pt x="-191" y="41868"/>
                    <a:pt x="1142" y="43770"/>
                  </a:cubicBezTo>
                  <a:close/>
                </a:path>
              </a:pathLst>
            </a:custGeom>
            <a:solidFill>
              <a:schemeClr val="bg1"/>
            </a:solidFill>
            <a:ln w="9318" cap="flat">
              <a:noFill/>
              <a:prstDash val="solid"/>
              <a:round/>
            </a:ln>
          </p:spPr>
          <p:txBody>
            <a:bodyPr rtlCol="0" anchor="ctr"/>
            <a:lstStyle/>
            <a:p>
              <a:endParaRPr lang="en-LT"/>
            </a:p>
          </p:txBody>
        </p:sp>
      </p:grpSp>
      <p:grpSp>
        <p:nvGrpSpPr>
          <p:cNvPr id="396" name="Group 36">
            <a:extLst>
              <a:ext uri="{FF2B5EF4-FFF2-40B4-BE49-F238E27FC236}">
                <a16:creationId xmlns:a16="http://schemas.microsoft.com/office/drawing/2014/main" id="{494BBCE2-F3EB-4CE5-BEA1-965979903DB9}"/>
              </a:ext>
            </a:extLst>
          </p:cNvPr>
          <p:cNvGrpSpPr/>
          <p:nvPr/>
        </p:nvGrpSpPr>
        <p:grpSpPr>
          <a:xfrm>
            <a:off x="-816048" y="2032391"/>
            <a:ext cx="827568" cy="828000"/>
            <a:chOff x="-837416" y="3015000"/>
            <a:chExt cx="827568" cy="828000"/>
          </a:xfrm>
        </p:grpSpPr>
        <p:sp>
          <p:nvSpPr>
            <p:cNvPr id="397" name="Oval 37">
              <a:extLst>
                <a:ext uri="{FF2B5EF4-FFF2-40B4-BE49-F238E27FC236}">
                  <a16:creationId xmlns:a16="http://schemas.microsoft.com/office/drawing/2014/main" id="{D796E4BF-BDDD-4D08-ACFD-61B221982D37}"/>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98" name="Graphic 38">
              <a:hlinkClick r:id="rId17" action="ppaction://hlinksldjump"/>
              <a:extLst>
                <a:ext uri="{FF2B5EF4-FFF2-40B4-BE49-F238E27FC236}">
                  <a16:creationId xmlns:a16="http://schemas.microsoft.com/office/drawing/2014/main" id="{8B9F563A-59C7-44E1-B3F7-7B82B394A58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44666" y="3111959"/>
              <a:ext cx="620915" cy="620915"/>
            </a:xfrm>
            <a:prstGeom prst="rect">
              <a:avLst/>
            </a:prstGeom>
          </p:spPr>
        </p:pic>
      </p:grpSp>
      <p:pic>
        <p:nvPicPr>
          <p:cNvPr id="399" name="Graphic 42">
            <a:hlinkClick r:id="rId17" action="ppaction://hlinksldjump"/>
            <a:extLst>
              <a:ext uri="{FF2B5EF4-FFF2-40B4-BE49-F238E27FC236}">
                <a16:creationId xmlns:a16="http://schemas.microsoft.com/office/drawing/2014/main" id="{69AA2DEA-F9EE-4184-9108-029DF5C42E2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86388" y="2144847"/>
            <a:ext cx="620915" cy="620915"/>
          </a:xfrm>
          <a:prstGeom prst="rect">
            <a:avLst/>
          </a:prstGeom>
        </p:spPr>
      </p:pic>
      <p:grpSp>
        <p:nvGrpSpPr>
          <p:cNvPr id="400" name="Group 38">
            <a:extLst>
              <a:ext uri="{FF2B5EF4-FFF2-40B4-BE49-F238E27FC236}">
                <a16:creationId xmlns:a16="http://schemas.microsoft.com/office/drawing/2014/main" id="{42BF5EB1-3B92-4DD2-B301-400872A06348}"/>
              </a:ext>
            </a:extLst>
          </p:cNvPr>
          <p:cNvGrpSpPr/>
          <p:nvPr/>
        </p:nvGrpSpPr>
        <p:grpSpPr>
          <a:xfrm>
            <a:off x="-816048" y="3347650"/>
            <a:ext cx="827568" cy="828000"/>
            <a:chOff x="-842559" y="4288420"/>
            <a:chExt cx="827568" cy="828000"/>
          </a:xfrm>
        </p:grpSpPr>
        <p:sp>
          <p:nvSpPr>
            <p:cNvPr id="401" name="Oval 39">
              <a:extLst>
                <a:ext uri="{FF2B5EF4-FFF2-40B4-BE49-F238E27FC236}">
                  <a16:creationId xmlns:a16="http://schemas.microsoft.com/office/drawing/2014/main" id="{3B9554A4-7B37-4982-A419-FD1A689B6309}"/>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402" name="Graphic 40" descr="Single gear">
              <a:extLst>
                <a:ext uri="{FF2B5EF4-FFF2-40B4-BE49-F238E27FC236}">
                  <a16:creationId xmlns:a16="http://schemas.microsoft.com/office/drawing/2014/main" id="{8D77D56D-4311-4CD0-92A1-FB9648DC628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80293" y="4363185"/>
              <a:ext cx="724649" cy="724649"/>
            </a:xfrm>
            <a:prstGeom prst="rect">
              <a:avLst/>
            </a:prstGeom>
          </p:spPr>
        </p:pic>
      </p:grpSp>
      <p:grpSp>
        <p:nvGrpSpPr>
          <p:cNvPr id="403" name="Group 41">
            <a:extLst>
              <a:ext uri="{FF2B5EF4-FFF2-40B4-BE49-F238E27FC236}">
                <a16:creationId xmlns:a16="http://schemas.microsoft.com/office/drawing/2014/main" id="{3C5467D0-93DB-4570-AAC0-0897FCDD48C9}"/>
              </a:ext>
            </a:extLst>
          </p:cNvPr>
          <p:cNvGrpSpPr/>
          <p:nvPr/>
        </p:nvGrpSpPr>
        <p:grpSpPr>
          <a:xfrm>
            <a:off x="-816048" y="4621069"/>
            <a:ext cx="827568" cy="828000"/>
            <a:chOff x="-842559" y="5561839"/>
            <a:chExt cx="827568" cy="828000"/>
          </a:xfrm>
        </p:grpSpPr>
        <p:sp>
          <p:nvSpPr>
            <p:cNvPr id="404" name="Oval 42">
              <a:extLst>
                <a:ext uri="{FF2B5EF4-FFF2-40B4-BE49-F238E27FC236}">
                  <a16:creationId xmlns:a16="http://schemas.microsoft.com/office/drawing/2014/main" id="{125BF299-DE1E-4768-98E0-6B76797238DC}"/>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405" name="Graphic 43">
              <a:hlinkClick r:id="rId24" action="ppaction://hlinksldjump"/>
              <a:extLst>
                <a:ext uri="{FF2B5EF4-FFF2-40B4-BE49-F238E27FC236}">
                  <a16:creationId xmlns:a16="http://schemas.microsoft.com/office/drawing/2014/main" id="{3DE57255-3100-48AF-AED9-2BB4213261F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80909" y="5753591"/>
              <a:ext cx="534250" cy="474889"/>
            </a:xfrm>
            <a:prstGeom prst="rect">
              <a:avLst/>
            </a:prstGeom>
          </p:spPr>
        </p:pic>
      </p:grpSp>
      <p:pic>
        <p:nvPicPr>
          <p:cNvPr id="406" name="Graphic 48" descr="Single gear">
            <a:hlinkClick r:id="rId27" action="ppaction://hlinksldjump"/>
            <a:extLst>
              <a:ext uri="{FF2B5EF4-FFF2-40B4-BE49-F238E27FC236}">
                <a16:creationId xmlns:a16="http://schemas.microsoft.com/office/drawing/2014/main" id="{A642E421-BB21-4F77-9DCD-2949CAA0336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04267" y="3422414"/>
            <a:ext cx="724649" cy="724649"/>
          </a:xfrm>
          <a:prstGeom prst="rect">
            <a:avLst/>
          </a:prstGeom>
        </p:spPr>
      </p:pic>
      <p:pic>
        <p:nvPicPr>
          <p:cNvPr id="407" name="Graphic 49">
            <a:hlinkClick r:id="rId24" action="ppaction://hlinksldjump"/>
            <a:extLst>
              <a:ext uri="{FF2B5EF4-FFF2-40B4-BE49-F238E27FC236}">
                <a16:creationId xmlns:a16="http://schemas.microsoft.com/office/drawing/2014/main" id="{F7CC2050-FFEA-49CF-B8B6-2B7D7F3E1188}"/>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84514" y="4774370"/>
            <a:ext cx="577508" cy="513340"/>
          </a:xfrm>
          <a:prstGeom prst="rect">
            <a:avLst/>
          </a:prstGeom>
        </p:spPr>
      </p:pic>
    </p:spTree>
    <p:extLst>
      <p:ext uri="{BB962C8B-B14F-4D97-AF65-F5344CB8AC3E}">
        <p14:creationId xmlns:p14="http://schemas.microsoft.com/office/powerpoint/2010/main" val="36497447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F466F"/>
        </a:solidFill>
        <a:effectLst/>
      </p:bgPr>
    </p:bg>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7195AF84-4A9C-4E52-8745-816CDC8F6136}"/>
              </a:ext>
            </a:extLst>
          </p:cNvPr>
          <p:cNvCxnSpPr>
            <a:cxnSpLocks/>
          </p:cNvCxnSpPr>
          <p:nvPr/>
        </p:nvCxnSpPr>
        <p:spPr>
          <a:xfrm>
            <a:off x="5974126" y="2893672"/>
            <a:ext cx="532435" cy="92597"/>
          </a:xfrm>
          <a:prstGeom prst="line">
            <a:avLst/>
          </a:prstGeom>
          <a:ln w="63500" cap="rnd">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44DC11F-4C38-400F-8823-2ABD4067EF88}"/>
              </a:ext>
            </a:extLst>
          </p:cNvPr>
          <p:cNvCxnSpPr>
            <a:cxnSpLocks/>
          </p:cNvCxnSpPr>
          <p:nvPr/>
        </p:nvCxnSpPr>
        <p:spPr>
          <a:xfrm>
            <a:off x="5860263" y="3822531"/>
            <a:ext cx="163847" cy="66391"/>
          </a:xfrm>
          <a:prstGeom prst="line">
            <a:avLst/>
          </a:prstGeom>
          <a:ln w="63500" cap="rnd">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6060FA3-F267-4BF8-9B7C-022912773C5B}"/>
              </a:ext>
            </a:extLst>
          </p:cNvPr>
          <p:cNvCxnSpPr>
            <a:cxnSpLocks/>
          </p:cNvCxnSpPr>
          <p:nvPr/>
        </p:nvCxnSpPr>
        <p:spPr>
          <a:xfrm>
            <a:off x="5196054" y="4676776"/>
            <a:ext cx="779505" cy="385539"/>
          </a:xfrm>
          <a:prstGeom prst="line">
            <a:avLst/>
          </a:prstGeom>
          <a:ln w="63500" cap="rnd">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D9B3902-0E30-4077-947E-5FF15A3641CB}"/>
              </a:ext>
            </a:extLst>
          </p:cNvPr>
          <p:cNvGrpSpPr/>
          <p:nvPr/>
        </p:nvGrpSpPr>
        <p:grpSpPr>
          <a:xfrm>
            <a:off x="1362005" y="599138"/>
            <a:ext cx="1689808" cy="1691993"/>
            <a:chOff x="1178190" y="689592"/>
            <a:chExt cx="1925671" cy="1928161"/>
          </a:xfrm>
        </p:grpSpPr>
        <p:grpSp>
          <p:nvGrpSpPr>
            <p:cNvPr id="19" name="Group 18">
              <a:extLst>
                <a:ext uri="{FF2B5EF4-FFF2-40B4-BE49-F238E27FC236}">
                  <a16:creationId xmlns:a16="http://schemas.microsoft.com/office/drawing/2014/main" id="{1B4F17E6-CC44-46B0-8278-9E9F433CBC7F}"/>
                </a:ext>
              </a:extLst>
            </p:cNvPr>
            <p:cNvGrpSpPr/>
            <p:nvPr/>
          </p:nvGrpSpPr>
          <p:grpSpPr>
            <a:xfrm>
              <a:off x="1178190" y="689592"/>
              <a:ext cx="1925671" cy="1928161"/>
              <a:chOff x="1568450" y="1341438"/>
              <a:chExt cx="1227138" cy="1228725"/>
            </a:xfrm>
          </p:grpSpPr>
          <p:sp>
            <p:nvSpPr>
              <p:cNvPr id="6" name="Oval 5">
                <a:extLst>
                  <a:ext uri="{FF2B5EF4-FFF2-40B4-BE49-F238E27FC236}">
                    <a16:creationId xmlns:a16="http://schemas.microsoft.com/office/drawing/2014/main" id="{BF9FF395-6750-40CD-BD4E-0F5A835FD66E}"/>
                  </a:ext>
                </a:extLst>
              </p:cNvPr>
              <p:cNvSpPr>
                <a:spLocks noChangeArrowheads="1"/>
              </p:cNvSpPr>
              <p:nvPr/>
            </p:nvSpPr>
            <p:spPr bwMode="auto">
              <a:xfrm>
                <a:off x="1568450" y="1341438"/>
                <a:ext cx="1227138" cy="1228725"/>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 name="Freeform 6">
                <a:extLst>
                  <a:ext uri="{FF2B5EF4-FFF2-40B4-BE49-F238E27FC236}">
                    <a16:creationId xmlns:a16="http://schemas.microsoft.com/office/drawing/2014/main" id="{8B1B622D-20A8-4EC7-95CC-E64D3B107EC4}"/>
                  </a:ext>
                </a:extLst>
              </p:cNvPr>
              <p:cNvSpPr>
                <a:spLocks/>
              </p:cNvSpPr>
              <p:nvPr/>
            </p:nvSpPr>
            <p:spPr bwMode="auto">
              <a:xfrm>
                <a:off x="1728788" y="1341438"/>
                <a:ext cx="1066800" cy="1062037"/>
              </a:xfrm>
              <a:custGeom>
                <a:avLst/>
                <a:gdLst>
                  <a:gd name="T0" fmla="*/ 148 w 348"/>
                  <a:gd name="T1" fmla="*/ 0 h 346"/>
                  <a:gd name="T2" fmla="*/ 32 w 348"/>
                  <a:gd name="T3" fmla="*/ 38 h 346"/>
                  <a:gd name="T4" fmla="*/ 0 w 348"/>
                  <a:gd name="T5" fmla="*/ 146 h 346"/>
                  <a:gd name="T6" fmla="*/ 200 w 348"/>
                  <a:gd name="T7" fmla="*/ 346 h 346"/>
                  <a:gd name="T8" fmla="*/ 317 w 348"/>
                  <a:gd name="T9" fmla="*/ 308 h 346"/>
                  <a:gd name="T10" fmla="*/ 348 w 348"/>
                  <a:gd name="T11" fmla="*/ 200 h 346"/>
                  <a:gd name="T12" fmla="*/ 148 w 348"/>
                  <a:gd name="T13" fmla="*/ 0 h 346"/>
                </a:gdLst>
                <a:ahLst/>
                <a:cxnLst>
                  <a:cxn ang="0">
                    <a:pos x="T0" y="T1"/>
                  </a:cxn>
                  <a:cxn ang="0">
                    <a:pos x="T2" y="T3"/>
                  </a:cxn>
                  <a:cxn ang="0">
                    <a:pos x="T4" y="T5"/>
                  </a:cxn>
                  <a:cxn ang="0">
                    <a:pos x="T6" y="T7"/>
                  </a:cxn>
                  <a:cxn ang="0">
                    <a:pos x="T8" y="T9"/>
                  </a:cxn>
                  <a:cxn ang="0">
                    <a:pos x="T10" y="T11"/>
                  </a:cxn>
                  <a:cxn ang="0">
                    <a:pos x="T12" y="T13"/>
                  </a:cxn>
                </a:cxnLst>
                <a:rect l="0" t="0" r="r" b="b"/>
                <a:pathLst>
                  <a:path w="348" h="346">
                    <a:moveTo>
                      <a:pt x="148" y="0"/>
                    </a:moveTo>
                    <a:cubicBezTo>
                      <a:pt x="105" y="0"/>
                      <a:pt x="65" y="14"/>
                      <a:pt x="32" y="38"/>
                    </a:cubicBezTo>
                    <a:cubicBezTo>
                      <a:pt x="12" y="69"/>
                      <a:pt x="0" y="106"/>
                      <a:pt x="0" y="146"/>
                    </a:cubicBezTo>
                    <a:cubicBezTo>
                      <a:pt x="0" y="256"/>
                      <a:pt x="90" y="346"/>
                      <a:pt x="200" y="346"/>
                    </a:cubicBezTo>
                    <a:cubicBezTo>
                      <a:pt x="244" y="346"/>
                      <a:pt x="284" y="332"/>
                      <a:pt x="317" y="308"/>
                    </a:cubicBezTo>
                    <a:cubicBezTo>
                      <a:pt x="337" y="277"/>
                      <a:pt x="348" y="240"/>
                      <a:pt x="348" y="200"/>
                    </a:cubicBezTo>
                    <a:cubicBezTo>
                      <a:pt x="348" y="90"/>
                      <a:pt x="259" y="0"/>
                      <a:pt x="14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42" name="TextBox 41">
              <a:extLst>
                <a:ext uri="{FF2B5EF4-FFF2-40B4-BE49-F238E27FC236}">
                  <a16:creationId xmlns:a16="http://schemas.microsoft.com/office/drawing/2014/main" id="{84D234C1-538E-45BD-9368-98CB47EC7C08}"/>
                </a:ext>
              </a:extLst>
            </p:cNvPr>
            <p:cNvSpPr txBox="1"/>
            <p:nvPr/>
          </p:nvSpPr>
          <p:spPr>
            <a:xfrm>
              <a:off x="1796166" y="1302370"/>
              <a:ext cx="716543" cy="615553"/>
            </a:xfrm>
            <a:prstGeom prst="rect">
              <a:avLst/>
            </a:prstGeom>
            <a:noFill/>
          </p:spPr>
          <p:txBody>
            <a:bodyPr wrap="none" lIns="0" tIns="0" rIns="0" bIns="0" rtlCol="0" anchor="ctr">
              <a:spAutoFit/>
            </a:bodyPr>
            <a:lstStyle/>
            <a:p>
              <a:pPr algn="ctr"/>
              <a:r>
                <a:rPr lang="en-IN" sz="4000" b="1" dirty="0"/>
                <a:t>GIT</a:t>
              </a:r>
            </a:p>
          </p:txBody>
        </p:sp>
      </p:grpSp>
      <p:grpSp>
        <p:nvGrpSpPr>
          <p:cNvPr id="20" name="Group 19">
            <a:extLst>
              <a:ext uri="{FF2B5EF4-FFF2-40B4-BE49-F238E27FC236}">
                <a16:creationId xmlns:a16="http://schemas.microsoft.com/office/drawing/2014/main" id="{CD7CFF5D-DA7E-41A3-9E52-C46A6BE9503E}"/>
              </a:ext>
            </a:extLst>
          </p:cNvPr>
          <p:cNvGrpSpPr/>
          <p:nvPr/>
        </p:nvGrpSpPr>
        <p:grpSpPr>
          <a:xfrm>
            <a:off x="2820280" y="1842556"/>
            <a:ext cx="2284350" cy="2280066"/>
            <a:chOff x="2673350" y="2247900"/>
            <a:chExt cx="1693863" cy="1690687"/>
          </a:xfrm>
        </p:grpSpPr>
        <p:sp>
          <p:nvSpPr>
            <p:cNvPr id="8" name="Oval 7">
              <a:extLst>
                <a:ext uri="{FF2B5EF4-FFF2-40B4-BE49-F238E27FC236}">
                  <a16:creationId xmlns:a16="http://schemas.microsoft.com/office/drawing/2014/main" id="{95F4D80B-CFA4-44F2-BC7B-BFE519F0A722}"/>
                </a:ext>
              </a:extLst>
            </p:cNvPr>
            <p:cNvSpPr>
              <a:spLocks noChangeArrowheads="1"/>
            </p:cNvSpPr>
            <p:nvPr/>
          </p:nvSpPr>
          <p:spPr bwMode="auto">
            <a:xfrm>
              <a:off x="2673350" y="2247900"/>
              <a:ext cx="1693863" cy="1690687"/>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 name="Freeform 8">
              <a:extLst>
                <a:ext uri="{FF2B5EF4-FFF2-40B4-BE49-F238E27FC236}">
                  <a16:creationId xmlns:a16="http://schemas.microsoft.com/office/drawing/2014/main" id="{3A4DA404-AC4A-48E8-8FB3-44428BE234E4}"/>
                </a:ext>
              </a:extLst>
            </p:cNvPr>
            <p:cNvSpPr>
              <a:spLocks/>
            </p:cNvSpPr>
            <p:nvPr/>
          </p:nvSpPr>
          <p:spPr bwMode="auto">
            <a:xfrm>
              <a:off x="2894013" y="2247900"/>
              <a:ext cx="1473200" cy="1460500"/>
            </a:xfrm>
            <a:custGeom>
              <a:avLst/>
              <a:gdLst>
                <a:gd name="T0" fmla="*/ 204 w 480"/>
                <a:gd name="T1" fmla="*/ 0 h 476"/>
                <a:gd name="T2" fmla="*/ 44 w 480"/>
                <a:gd name="T3" fmla="*/ 52 h 476"/>
                <a:gd name="T4" fmla="*/ 0 w 480"/>
                <a:gd name="T5" fmla="*/ 200 h 476"/>
                <a:gd name="T6" fmla="*/ 276 w 480"/>
                <a:gd name="T7" fmla="*/ 476 h 476"/>
                <a:gd name="T8" fmla="*/ 436 w 480"/>
                <a:gd name="T9" fmla="*/ 425 h 476"/>
                <a:gd name="T10" fmla="*/ 480 w 480"/>
                <a:gd name="T11" fmla="*/ 276 h 476"/>
                <a:gd name="T12" fmla="*/ 204 w 48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480" h="476">
                  <a:moveTo>
                    <a:pt x="204" y="0"/>
                  </a:moveTo>
                  <a:cubicBezTo>
                    <a:pt x="144" y="0"/>
                    <a:pt x="89" y="19"/>
                    <a:pt x="44" y="52"/>
                  </a:cubicBezTo>
                  <a:cubicBezTo>
                    <a:pt x="16" y="94"/>
                    <a:pt x="0" y="146"/>
                    <a:pt x="0" y="200"/>
                  </a:cubicBezTo>
                  <a:cubicBezTo>
                    <a:pt x="0" y="353"/>
                    <a:pt x="123" y="476"/>
                    <a:pt x="276" y="476"/>
                  </a:cubicBezTo>
                  <a:cubicBezTo>
                    <a:pt x="335" y="476"/>
                    <a:pt x="391" y="457"/>
                    <a:pt x="436" y="425"/>
                  </a:cubicBezTo>
                  <a:cubicBezTo>
                    <a:pt x="464" y="382"/>
                    <a:pt x="480" y="331"/>
                    <a:pt x="480" y="276"/>
                  </a:cubicBezTo>
                  <a:cubicBezTo>
                    <a:pt x="480" y="123"/>
                    <a:pt x="356" y="0"/>
                    <a:pt x="20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43" name="TextBox 42">
            <a:extLst>
              <a:ext uri="{FF2B5EF4-FFF2-40B4-BE49-F238E27FC236}">
                <a16:creationId xmlns:a16="http://schemas.microsoft.com/office/drawing/2014/main" id="{D93AF6DB-7DDD-4582-82DB-3C930E649DDC}"/>
              </a:ext>
            </a:extLst>
          </p:cNvPr>
          <p:cNvSpPr txBox="1"/>
          <p:nvPr/>
        </p:nvSpPr>
        <p:spPr>
          <a:xfrm>
            <a:off x="3073376" y="2690393"/>
            <a:ext cx="1629941" cy="553998"/>
          </a:xfrm>
          <a:prstGeom prst="rect">
            <a:avLst/>
          </a:prstGeom>
          <a:noFill/>
        </p:spPr>
        <p:txBody>
          <a:bodyPr wrap="square" lIns="0" tIns="0" rIns="0" bIns="0" rtlCol="0" anchor="ctr">
            <a:spAutoFit/>
          </a:bodyPr>
          <a:lstStyle/>
          <a:p>
            <a:pPr algn="ctr"/>
            <a:r>
              <a:rPr lang="en-IN" sz="3600" b="1" dirty="0"/>
              <a:t>GITHUB</a:t>
            </a:r>
          </a:p>
        </p:txBody>
      </p:sp>
      <p:grpSp>
        <p:nvGrpSpPr>
          <p:cNvPr id="21" name="Group 20">
            <a:extLst>
              <a:ext uri="{FF2B5EF4-FFF2-40B4-BE49-F238E27FC236}">
                <a16:creationId xmlns:a16="http://schemas.microsoft.com/office/drawing/2014/main" id="{829725DC-272B-4AE8-A527-37B9268F43FD}"/>
              </a:ext>
            </a:extLst>
          </p:cNvPr>
          <p:cNvGrpSpPr/>
          <p:nvPr/>
        </p:nvGrpSpPr>
        <p:grpSpPr>
          <a:xfrm>
            <a:off x="8552661" y="2832730"/>
            <a:ext cx="3622154" cy="3622154"/>
            <a:chOff x="4213225" y="3195638"/>
            <a:chExt cx="2308225" cy="2308225"/>
          </a:xfrm>
        </p:grpSpPr>
        <p:sp>
          <p:nvSpPr>
            <p:cNvPr id="10" name="Oval 9">
              <a:extLst>
                <a:ext uri="{FF2B5EF4-FFF2-40B4-BE49-F238E27FC236}">
                  <a16:creationId xmlns:a16="http://schemas.microsoft.com/office/drawing/2014/main" id="{A92A522F-A33F-4181-BD07-403248D23B70}"/>
                </a:ext>
              </a:extLst>
            </p:cNvPr>
            <p:cNvSpPr>
              <a:spLocks noChangeArrowheads="1"/>
            </p:cNvSpPr>
            <p:nvPr/>
          </p:nvSpPr>
          <p:spPr bwMode="auto">
            <a:xfrm>
              <a:off x="4213225" y="3195638"/>
              <a:ext cx="2308225" cy="2308225"/>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10">
              <a:extLst>
                <a:ext uri="{FF2B5EF4-FFF2-40B4-BE49-F238E27FC236}">
                  <a16:creationId xmlns:a16="http://schemas.microsoft.com/office/drawing/2014/main" id="{39EDDD1E-F4A0-4982-BD83-BD208C5BB559}"/>
                </a:ext>
              </a:extLst>
            </p:cNvPr>
            <p:cNvSpPr>
              <a:spLocks/>
            </p:cNvSpPr>
            <p:nvPr/>
          </p:nvSpPr>
          <p:spPr bwMode="auto">
            <a:xfrm>
              <a:off x="4511675" y="3195638"/>
              <a:ext cx="2009775" cy="1995487"/>
            </a:xfrm>
            <a:custGeom>
              <a:avLst/>
              <a:gdLst>
                <a:gd name="T0" fmla="*/ 279 w 655"/>
                <a:gd name="T1" fmla="*/ 0 h 650"/>
                <a:gd name="T2" fmla="*/ 60 w 655"/>
                <a:gd name="T3" fmla="*/ 71 h 650"/>
                <a:gd name="T4" fmla="*/ 0 w 655"/>
                <a:gd name="T5" fmla="*/ 274 h 650"/>
                <a:gd name="T6" fmla="*/ 376 w 655"/>
                <a:gd name="T7" fmla="*/ 650 h 650"/>
                <a:gd name="T8" fmla="*/ 595 w 655"/>
                <a:gd name="T9" fmla="*/ 579 h 650"/>
                <a:gd name="T10" fmla="*/ 655 w 655"/>
                <a:gd name="T11" fmla="*/ 376 h 650"/>
                <a:gd name="T12" fmla="*/ 279 w 655"/>
                <a:gd name="T13" fmla="*/ 0 h 650"/>
              </a:gdLst>
              <a:ahLst/>
              <a:cxnLst>
                <a:cxn ang="0">
                  <a:pos x="T0" y="T1"/>
                </a:cxn>
                <a:cxn ang="0">
                  <a:pos x="T2" y="T3"/>
                </a:cxn>
                <a:cxn ang="0">
                  <a:pos x="T4" y="T5"/>
                </a:cxn>
                <a:cxn ang="0">
                  <a:pos x="T6" y="T7"/>
                </a:cxn>
                <a:cxn ang="0">
                  <a:pos x="T8" y="T9"/>
                </a:cxn>
                <a:cxn ang="0">
                  <a:pos x="T10" y="T11"/>
                </a:cxn>
                <a:cxn ang="0">
                  <a:pos x="T12" y="T13"/>
                </a:cxn>
              </a:cxnLst>
              <a:rect l="0" t="0" r="r" b="b"/>
              <a:pathLst>
                <a:path w="655" h="650">
                  <a:moveTo>
                    <a:pt x="279" y="0"/>
                  </a:moveTo>
                  <a:cubicBezTo>
                    <a:pt x="197" y="0"/>
                    <a:pt x="122" y="26"/>
                    <a:pt x="60" y="71"/>
                  </a:cubicBezTo>
                  <a:cubicBezTo>
                    <a:pt x="22" y="129"/>
                    <a:pt x="0" y="199"/>
                    <a:pt x="0" y="274"/>
                  </a:cubicBezTo>
                  <a:cubicBezTo>
                    <a:pt x="0" y="481"/>
                    <a:pt x="169" y="650"/>
                    <a:pt x="376" y="650"/>
                  </a:cubicBezTo>
                  <a:cubicBezTo>
                    <a:pt x="458" y="650"/>
                    <a:pt x="533" y="623"/>
                    <a:pt x="595" y="579"/>
                  </a:cubicBezTo>
                  <a:cubicBezTo>
                    <a:pt x="633" y="521"/>
                    <a:pt x="655" y="451"/>
                    <a:pt x="655" y="376"/>
                  </a:cubicBezTo>
                  <a:cubicBezTo>
                    <a:pt x="655" y="169"/>
                    <a:pt x="486" y="0"/>
                    <a:pt x="2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46" name="TextBox 45">
            <a:extLst>
              <a:ext uri="{FF2B5EF4-FFF2-40B4-BE49-F238E27FC236}">
                <a16:creationId xmlns:a16="http://schemas.microsoft.com/office/drawing/2014/main" id="{8A394473-9EFD-4EC6-B085-C89BAC6A6B73}"/>
              </a:ext>
            </a:extLst>
          </p:cNvPr>
          <p:cNvSpPr txBox="1"/>
          <p:nvPr/>
        </p:nvSpPr>
        <p:spPr>
          <a:xfrm>
            <a:off x="8838753" y="4258569"/>
            <a:ext cx="3145101" cy="861774"/>
          </a:xfrm>
          <a:prstGeom prst="rect">
            <a:avLst/>
          </a:prstGeom>
          <a:noFill/>
        </p:spPr>
        <p:txBody>
          <a:bodyPr wrap="square" lIns="0" tIns="0" rIns="0" bIns="0" rtlCol="0" anchor="b">
            <a:spAutoFit/>
          </a:bodyPr>
          <a:lstStyle/>
          <a:p>
            <a:pPr algn="ctr"/>
            <a:r>
              <a:rPr lang="en-IN" sz="2800" b="1" dirty="0"/>
              <a:t>LA COLLABORATION </a:t>
            </a:r>
          </a:p>
          <a:p>
            <a:pPr algn="ctr"/>
            <a:r>
              <a:rPr lang="en-IN" sz="2800" b="1" dirty="0"/>
              <a:t>TRANSPARANTE</a:t>
            </a:r>
          </a:p>
        </p:txBody>
      </p:sp>
      <p:grpSp>
        <p:nvGrpSpPr>
          <p:cNvPr id="38" name="Group 37">
            <a:extLst>
              <a:ext uri="{FF2B5EF4-FFF2-40B4-BE49-F238E27FC236}">
                <a16:creationId xmlns:a16="http://schemas.microsoft.com/office/drawing/2014/main" id="{688DACAC-4F0F-447E-BCAB-2ECE8A0F96F0}"/>
              </a:ext>
            </a:extLst>
          </p:cNvPr>
          <p:cNvGrpSpPr/>
          <p:nvPr/>
        </p:nvGrpSpPr>
        <p:grpSpPr>
          <a:xfrm>
            <a:off x="5170625" y="2765570"/>
            <a:ext cx="3091304" cy="2942672"/>
            <a:chOff x="2673350" y="2247900"/>
            <a:chExt cx="1693863" cy="1690687"/>
          </a:xfrm>
        </p:grpSpPr>
        <p:sp>
          <p:nvSpPr>
            <p:cNvPr id="48" name="Oval 47">
              <a:extLst>
                <a:ext uri="{FF2B5EF4-FFF2-40B4-BE49-F238E27FC236}">
                  <a16:creationId xmlns:a16="http://schemas.microsoft.com/office/drawing/2014/main" id="{A49F2B28-8E4C-47E6-ACDE-8D3F8F3B0494}"/>
                </a:ext>
              </a:extLst>
            </p:cNvPr>
            <p:cNvSpPr>
              <a:spLocks noChangeArrowheads="1"/>
            </p:cNvSpPr>
            <p:nvPr/>
          </p:nvSpPr>
          <p:spPr bwMode="auto">
            <a:xfrm>
              <a:off x="2673350" y="2247900"/>
              <a:ext cx="1693863" cy="1690687"/>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 name="Freeform 8">
              <a:extLst>
                <a:ext uri="{FF2B5EF4-FFF2-40B4-BE49-F238E27FC236}">
                  <a16:creationId xmlns:a16="http://schemas.microsoft.com/office/drawing/2014/main" id="{1CA2FD2D-2395-4B0E-9436-787A39F95F75}"/>
                </a:ext>
              </a:extLst>
            </p:cNvPr>
            <p:cNvSpPr>
              <a:spLocks/>
            </p:cNvSpPr>
            <p:nvPr/>
          </p:nvSpPr>
          <p:spPr bwMode="auto">
            <a:xfrm>
              <a:off x="2894013" y="2247900"/>
              <a:ext cx="1473200" cy="1460500"/>
            </a:xfrm>
            <a:custGeom>
              <a:avLst/>
              <a:gdLst>
                <a:gd name="T0" fmla="*/ 204 w 480"/>
                <a:gd name="T1" fmla="*/ 0 h 476"/>
                <a:gd name="T2" fmla="*/ 44 w 480"/>
                <a:gd name="T3" fmla="*/ 52 h 476"/>
                <a:gd name="T4" fmla="*/ 0 w 480"/>
                <a:gd name="T5" fmla="*/ 200 h 476"/>
                <a:gd name="T6" fmla="*/ 276 w 480"/>
                <a:gd name="T7" fmla="*/ 476 h 476"/>
                <a:gd name="T8" fmla="*/ 436 w 480"/>
                <a:gd name="T9" fmla="*/ 425 h 476"/>
                <a:gd name="T10" fmla="*/ 480 w 480"/>
                <a:gd name="T11" fmla="*/ 276 h 476"/>
                <a:gd name="T12" fmla="*/ 204 w 48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480" h="476">
                  <a:moveTo>
                    <a:pt x="204" y="0"/>
                  </a:moveTo>
                  <a:cubicBezTo>
                    <a:pt x="144" y="0"/>
                    <a:pt x="89" y="19"/>
                    <a:pt x="44" y="52"/>
                  </a:cubicBezTo>
                  <a:cubicBezTo>
                    <a:pt x="16" y="94"/>
                    <a:pt x="0" y="146"/>
                    <a:pt x="0" y="200"/>
                  </a:cubicBezTo>
                  <a:cubicBezTo>
                    <a:pt x="0" y="353"/>
                    <a:pt x="123" y="476"/>
                    <a:pt x="276" y="476"/>
                  </a:cubicBezTo>
                  <a:cubicBezTo>
                    <a:pt x="335" y="476"/>
                    <a:pt x="391" y="457"/>
                    <a:pt x="436" y="425"/>
                  </a:cubicBezTo>
                  <a:cubicBezTo>
                    <a:pt x="464" y="382"/>
                    <a:pt x="480" y="331"/>
                    <a:pt x="480" y="276"/>
                  </a:cubicBezTo>
                  <a:cubicBezTo>
                    <a:pt x="480" y="123"/>
                    <a:pt x="356" y="0"/>
                    <a:pt x="20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44" name="TextBox 43">
            <a:extLst>
              <a:ext uri="{FF2B5EF4-FFF2-40B4-BE49-F238E27FC236}">
                <a16:creationId xmlns:a16="http://schemas.microsoft.com/office/drawing/2014/main" id="{A89156AB-6981-4814-8291-7B09F1860BC9}"/>
              </a:ext>
            </a:extLst>
          </p:cNvPr>
          <p:cNvSpPr txBox="1"/>
          <p:nvPr/>
        </p:nvSpPr>
        <p:spPr>
          <a:xfrm>
            <a:off x="5634677" y="3959907"/>
            <a:ext cx="2205722" cy="553998"/>
          </a:xfrm>
          <a:prstGeom prst="rect">
            <a:avLst/>
          </a:prstGeom>
          <a:noFill/>
        </p:spPr>
        <p:txBody>
          <a:bodyPr wrap="square" lIns="0" tIns="0" rIns="0" bIns="0" rtlCol="0" anchor="ctr">
            <a:spAutoFit/>
          </a:bodyPr>
          <a:lstStyle/>
          <a:p>
            <a:pPr algn="ctr"/>
            <a:r>
              <a:rPr lang="en-IN" sz="3600" b="1" dirty="0"/>
              <a:t>DEVOPS</a:t>
            </a:r>
          </a:p>
        </p:txBody>
      </p:sp>
      <p:sp>
        <p:nvSpPr>
          <p:cNvPr id="53" name="Freeform 13">
            <a:extLst>
              <a:ext uri="{FF2B5EF4-FFF2-40B4-BE49-F238E27FC236}">
                <a16:creationId xmlns:a16="http://schemas.microsoft.com/office/drawing/2014/main" id="{E9B17C8A-9B78-432B-8954-AF1D16404386}"/>
              </a:ext>
            </a:extLst>
          </p:cNvPr>
          <p:cNvSpPr>
            <a:spLocks/>
          </p:cNvSpPr>
          <p:nvPr/>
        </p:nvSpPr>
        <p:spPr bwMode="auto">
          <a:xfrm>
            <a:off x="-7594" y="2572995"/>
            <a:ext cx="7678738" cy="4297362"/>
          </a:xfrm>
          <a:custGeom>
            <a:avLst/>
            <a:gdLst>
              <a:gd name="T0" fmla="*/ 0 w 2502"/>
              <a:gd name="T1" fmla="*/ 0 h 1400"/>
              <a:gd name="T2" fmla="*/ 0 w 2502"/>
              <a:gd name="T3" fmla="*/ 1400 h 1400"/>
              <a:gd name="T4" fmla="*/ 2502 w 2502"/>
              <a:gd name="T5" fmla="*/ 1400 h 1400"/>
              <a:gd name="T6" fmla="*/ 976 w 2502"/>
              <a:gd name="T7" fmla="*/ 746 h 1400"/>
              <a:gd name="T8" fmla="*/ 0 w 2502"/>
              <a:gd name="T9" fmla="*/ 0 h 1400"/>
            </a:gdLst>
            <a:ahLst/>
            <a:cxnLst>
              <a:cxn ang="0">
                <a:pos x="T0" y="T1"/>
              </a:cxn>
              <a:cxn ang="0">
                <a:pos x="T2" y="T3"/>
              </a:cxn>
              <a:cxn ang="0">
                <a:pos x="T4" y="T5"/>
              </a:cxn>
              <a:cxn ang="0">
                <a:pos x="T6" y="T7"/>
              </a:cxn>
              <a:cxn ang="0">
                <a:pos x="T8" y="T9"/>
              </a:cxn>
            </a:cxnLst>
            <a:rect l="0" t="0" r="r" b="b"/>
            <a:pathLst>
              <a:path w="2502" h="1400">
                <a:moveTo>
                  <a:pt x="0" y="0"/>
                </a:moveTo>
                <a:cubicBezTo>
                  <a:pt x="0" y="1400"/>
                  <a:pt x="0" y="1400"/>
                  <a:pt x="0" y="1400"/>
                </a:cubicBezTo>
                <a:cubicBezTo>
                  <a:pt x="2502" y="1400"/>
                  <a:pt x="2502" y="1400"/>
                  <a:pt x="2502" y="1400"/>
                </a:cubicBezTo>
                <a:cubicBezTo>
                  <a:pt x="2502" y="1400"/>
                  <a:pt x="1553" y="1261"/>
                  <a:pt x="976" y="746"/>
                </a:cubicBezTo>
                <a:cubicBezTo>
                  <a:pt x="400" y="232"/>
                  <a:pt x="0" y="0"/>
                  <a:pt x="0" y="0"/>
                </a:cubicBezTo>
                <a:close/>
              </a:path>
            </a:pathLst>
          </a:custGeom>
          <a:solidFill>
            <a:srgbClr val="EF466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55" name="Freeform 14">
            <a:extLst>
              <a:ext uri="{FF2B5EF4-FFF2-40B4-BE49-F238E27FC236}">
                <a16:creationId xmlns:a16="http://schemas.microsoft.com/office/drawing/2014/main" id="{C1461ADC-16BB-45BE-9C04-F1558D695951}"/>
              </a:ext>
            </a:extLst>
          </p:cNvPr>
          <p:cNvSpPr>
            <a:spLocks/>
          </p:cNvSpPr>
          <p:nvPr/>
        </p:nvSpPr>
        <p:spPr bwMode="auto">
          <a:xfrm>
            <a:off x="-7594" y="1509714"/>
            <a:ext cx="3124200" cy="3470275"/>
          </a:xfrm>
          <a:custGeom>
            <a:avLst/>
            <a:gdLst>
              <a:gd name="T0" fmla="*/ 831 w 1018"/>
              <a:gd name="T1" fmla="*/ 842 h 1130"/>
              <a:gd name="T2" fmla="*/ 235 w 1018"/>
              <a:gd name="T3" fmla="*/ 341 h 1130"/>
              <a:gd name="T4" fmla="*/ 0 w 1018"/>
              <a:gd name="T5" fmla="*/ 0 h 1130"/>
              <a:gd name="T6" fmla="*/ 0 w 1018"/>
              <a:gd name="T7" fmla="*/ 1076 h 1130"/>
              <a:gd name="T8" fmla="*/ 584 w 1018"/>
              <a:gd name="T9" fmla="*/ 1069 h 1130"/>
              <a:gd name="T10" fmla="*/ 831 w 1018"/>
              <a:gd name="T11" fmla="*/ 842 h 1130"/>
            </a:gdLst>
            <a:ahLst/>
            <a:cxnLst>
              <a:cxn ang="0">
                <a:pos x="T0" y="T1"/>
              </a:cxn>
              <a:cxn ang="0">
                <a:pos x="T2" y="T3"/>
              </a:cxn>
              <a:cxn ang="0">
                <a:pos x="T4" y="T5"/>
              </a:cxn>
              <a:cxn ang="0">
                <a:pos x="T6" y="T7"/>
              </a:cxn>
              <a:cxn ang="0">
                <a:pos x="T8" y="T9"/>
              </a:cxn>
              <a:cxn ang="0">
                <a:pos x="T10" y="T11"/>
              </a:cxn>
            </a:cxnLst>
            <a:rect l="0" t="0" r="r" b="b"/>
            <a:pathLst>
              <a:path w="1018" h="1130">
                <a:moveTo>
                  <a:pt x="831" y="842"/>
                </a:moveTo>
                <a:cubicBezTo>
                  <a:pt x="772" y="778"/>
                  <a:pt x="393" y="506"/>
                  <a:pt x="235" y="341"/>
                </a:cubicBezTo>
                <a:cubicBezTo>
                  <a:pt x="138" y="240"/>
                  <a:pt x="54" y="107"/>
                  <a:pt x="0" y="0"/>
                </a:cubicBezTo>
                <a:cubicBezTo>
                  <a:pt x="0" y="1076"/>
                  <a:pt x="0" y="1076"/>
                  <a:pt x="0" y="1076"/>
                </a:cubicBezTo>
                <a:cubicBezTo>
                  <a:pt x="92" y="1101"/>
                  <a:pt x="286" y="1130"/>
                  <a:pt x="584" y="1069"/>
                </a:cubicBezTo>
                <a:cubicBezTo>
                  <a:pt x="1018" y="981"/>
                  <a:pt x="889" y="906"/>
                  <a:pt x="831" y="842"/>
                </a:cubicBezTo>
                <a:close/>
              </a:path>
            </a:pathLst>
          </a:custGeom>
          <a:solidFill>
            <a:srgbClr val="EF466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56" name="Freeform 15">
            <a:extLst>
              <a:ext uri="{FF2B5EF4-FFF2-40B4-BE49-F238E27FC236}">
                <a16:creationId xmlns:a16="http://schemas.microsoft.com/office/drawing/2014/main" id="{12B03B80-2E5D-48C5-80F2-C3935E730501}"/>
              </a:ext>
            </a:extLst>
          </p:cNvPr>
          <p:cNvSpPr>
            <a:spLocks/>
          </p:cNvSpPr>
          <p:nvPr/>
        </p:nvSpPr>
        <p:spPr bwMode="auto">
          <a:xfrm>
            <a:off x="120995" y="4398964"/>
            <a:ext cx="2614613" cy="555625"/>
          </a:xfrm>
          <a:custGeom>
            <a:avLst/>
            <a:gdLst>
              <a:gd name="T0" fmla="*/ 542 w 852"/>
              <a:gd name="T1" fmla="*/ 128 h 181"/>
              <a:gd name="T2" fmla="*/ 852 w 852"/>
              <a:gd name="T3" fmla="*/ 0 h 181"/>
              <a:gd name="T4" fmla="*/ 852 w 852"/>
              <a:gd name="T5" fmla="*/ 0 h 181"/>
              <a:gd name="T6" fmla="*/ 374 w 852"/>
              <a:gd name="T7" fmla="*/ 112 h 181"/>
              <a:gd name="T8" fmla="*/ 0 w 852"/>
              <a:gd name="T9" fmla="*/ 145 h 181"/>
              <a:gd name="T10" fmla="*/ 542 w 852"/>
              <a:gd name="T11" fmla="*/ 128 h 181"/>
            </a:gdLst>
            <a:ahLst/>
            <a:cxnLst>
              <a:cxn ang="0">
                <a:pos x="T0" y="T1"/>
              </a:cxn>
              <a:cxn ang="0">
                <a:pos x="T2" y="T3"/>
              </a:cxn>
              <a:cxn ang="0">
                <a:pos x="T4" y="T5"/>
              </a:cxn>
              <a:cxn ang="0">
                <a:pos x="T6" y="T7"/>
              </a:cxn>
              <a:cxn ang="0">
                <a:pos x="T8" y="T9"/>
              </a:cxn>
              <a:cxn ang="0">
                <a:pos x="T10" y="T11"/>
              </a:cxn>
            </a:cxnLst>
            <a:rect l="0" t="0" r="r" b="b"/>
            <a:pathLst>
              <a:path w="852" h="181">
                <a:moveTo>
                  <a:pt x="542" y="128"/>
                </a:moveTo>
                <a:cubicBezTo>
                  <a:pt x="769" y="82"/>
                  <a:pt x="842" y="40"/>
                  <a:pt x="852" y="0"/>
                </a:cubicBezTo>
                <a:cubicBezTo>
                  <a:pt x="852" y="0"/>
                  <a:pt x="852" y="0"/>
                  <a:pt x="852" y="0"/>
                </a:cubicBezTo>
                <a:cubicBezTo>
                  <a:pt x="757" y="124"/>
                  <a:pt x="374" y="112"/>
                  <a:pt x="374" y="112"/>
                </a:cubicBezTo>
                <a:cubicBezTo>
                  <a:pt x="210" y="168"/>
                  <a:pt x="67" y="156"/>
                  <a:pt x="0" y="145"/>
                </a:cubicBezTo>
                <a:cubicBezTo>
                  <a:pt x="103" y="166"/>
                  <a:pt x="284" y="181"/>
                  <a:pt x="542" y="128"/>
                </a:cubicBezTo>
                <a:close/>
              </a:path>
            </a:pathLst>
          </a:custGeom>
          <a:solidFill>
            <a:srgbClr val="EF466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58" name="Freeform 16">
            <a:extLst>
              <a:ext uri="{FF2B5EF4-FFF2-40B4-BE49-F238E27FC236}">
                <a16:creationId xmlns:a16="http://schemas.microsoft.com/office/drawing/2014/main" id="{CE159439-CD45-49DB-9896-47463921C656}"/>
              </a:ext>
            </a:extLst>
          </p:cNvPr>
          <p:cNvSpPr>
            <a:spLocks/>
          </p:cNvSpPr>
          <p:nvPr/>
        </p:nvSpPr>
        <p:spPr bwMode="auto">
          <a:xfrm>
            <a:off x="-7594" y="1141413"/>
            <a:ext cx="917575" cy="1708150"/>
          </a:xfrm>
          <a:custGeom>
            <a:avLst/>
            <a:gdLst>
              <a:gd name="T0" fmla="*/ 152 w 299"/>
              <a:gd name="T1" fmla="*/ 285 h 556"/>
              <a:gd name="T2" fmla="*/ 0 w 299"/>
              <a:gd name="T3" fmla="*/ 0 h 556"/>
              <a:gd name="T4" fmla="*/ 0 w 299"/>
              <a:gd name="T5" fmla="*/ 539 h 556"/>
              <a:gd name="T6" fmla="*/ 108 w 299"/>
              <a:gd name="T7" fmla="*/ 555 h 556"/>
              <a:gd name="T8" fmla="*/ 295 w 299"/>
              <a:gd name="T9" fmla="*/ 455 h 556"/>
              <a:gd name="T10" fmla="*/ 152 w 299"/>
              <a:gd name="T11" fmla="*/ 285 h 556"/>
            </a:gdLst>
            <a:ahLst/>
            <a:cxnLst>
              <a:cxn ang="0">
                <a:pos x="T0" y="T1"/>
              </a:cxn>
              <a:cxn ang="0">
                <a:pos x="T2" y="T3"/>
              </a:cxn>
              <a:cxn ang="0">
                <a:pos x="T4" y="T5"/>
              </a:cxn>
              <a:cxn ang="0">
                <a:pos x="T6" y="T7"/>
              </a:cxn>
              <a:cxn ang="0">
                <a:pos x="T8" y="T9"/>
              </a:cxn>
              <a:cxn ang="0">
                <a:pos x="T10" y="T11"/>
              </a:cxn>
            </a:cxnLst>
            <a:rect l="0" t="0" r="r" b="b"/>
            <a:pathLst>
              <a:path w="299" h="556">
                <a:moveTo>
                  <a:pt x="152" y="285"/>
                </a:moveTo>
                <a:cubicBezTo>
                  <a:pt x="113" y="236"/>
                  <a:pt x="41" y="120"/>
                  <a:pt x="0" y="0"/>
                </a:cubicBezTo>
                <a:cubicBezTo>
                  <a:pt x="0" y="539"/>
                  <a:pt x="0" y="539"/>
                  <a:pt x="0" y="539"/>
                </a:cubicBezTo>
                <a:cubicBezTo>
                  <a:pt x="36" y="549"/>
                  <a:pt x="74" y="556"/>
                  <a:pt x="108" y="555"/>
                </a:cubicBezTo>
                <a:cubicBezTo>
                  <a:pt x="215" y="554"/>
                  <a:pt x="290" y="494"/>
                  <a:pt x="295" y="455"/>
                </a:cubicBezTo>
                <a:cubicBezTo>
                  <a:pt x="299" y="417"/>
                  <a:pt x="204" y="349"/>
                  <a:pt x="152" y="28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60" name="Freeform 17">
            <a:extLst>
              <a:ext uri="{FF2B5EF4-FFF2-40B4-BE49-F238E27FC236}">
                <a16:creationId xmlns:a16="http://schemas.microsoft.com/office/drawing/2014/main" id="{6E280336-7E9B-4C5C-B2D7-71B4254CB7C3}"/>
              </a:ext>
            </a:extLst>
          </p:cNvPr>
          <p:cNvSpPr>
            <a:spLocks/>
          </p:cNvSpPr>
          <p:nvPr/>
        </p:nvSpPr>
        <p:spPr bwMode="auto">
          <a:xfrm>
            <a:off x="4764" y="2538414"/>
            <a:ext cx="904875" cy="344487"/>
          </a:xfrm>
          <a:custGeom>
            <a:avLst/>
            <a:gdLst>
              <a:gd name="T0" fmla="*/ 295 w 295"/>
              <a:gd name="T1" fmla="*/ 0 h 112"/>
              <a:gd name="T2" fmla="*/ 191 w 295"/>
              <a:gd name="T3" fmla="*/ 65 h 112"/>
              <a:gd name="T4" fmla="*/ 0 w 295"/>
              <a:gd name="T5" fmla="*/ 84 h 112"/>
              <a:gd name="T6" fmla="*/ 108 w 295"/>
              <a:gd name="T7" fmla="*/ 100 h 112"/>
              <a:gd name="T8" fmla="*/ 295 w 295"/>
              <a:gd name="T9" fmla="*/ 0 h 112"/>
            </a:gdLst>
            <a:ahLst/>
            <a:cxnLst>
              <a:cxn ang="0">
                <a:pos x="T0" y="T1"/>
              </a:cxn>
              <a:cxn ang="0">
                <a:pos x="T2" y="T3"/>
              </a:cxn>
              <a:cxn ang="0">
                <a:pos x="T4" y="T5"/>
              </a:cxn>
              <a:cxn ang="0">
                <a:pos x="T6" y="T7"/>
              </a:cxn>
              <a:cxn ang="0">
                <a:pos x="T8" y="T9"/>
              </a:cxn>
            </a:cxnLst>
            <a:rect l="0" t="0" r="r" b="b"/>
            <a:pathLst>
              <a:path w="295" h="112">
                <a:moveTo>
                  <a:pt x="295" y="0"/>
                </a:moveTo>
                <a:cubicBezTo>
                  <a:pt x="271" y="69"/>
                  <a:pt x="191" y="65"/>
                  <a:pt x="191" y="65"/>
                </a:cubicBezTo>
                <a:cubicBezTo>
                  <a:pt x="144" y="112"/>
                  <a:pt x="2" y="85"/>
                  <a:pt x="0" y="84"/>
                </a:cubicBezTo>
                <a:cubicBezTo>
                  <a:pt x="36" y="94"/>
                  <a:pt x="74" y="101"/>
                  <a:pt x="108" y="100"/>
                </a:cubicBezTo>
                <a:cubicBezTo>
                  <a:pt x="215" y="99"/>
                  <a:pt x="290" y="39"/>
                  <a:pt x="295" y="0"/>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cxnSp>
        <p:nvCxnSpPr>
          <p:cNvPr id="63" name="Straight Connector 62">
            <a:extLst>
              <a:ext uri="{FF2B5EF4-FFF2-40B4-BE49-F238E27FC236}">
                <a16:creationId xmlns:a16="http://schemas.microsoft.com/office/drawing/2014/main" id="{B21C96F3-A750-406D-89A5-25952D0BA32B}"/>
              </a:ext>
            </a:extLst>
          </p:cNvPr>
          <p:cNvCxnSpPr>
            <a:cxnSpLocks/>
          </p:cNvCxnSpPr>
          <p:nvPr/>
        </p:nvCxnSpPr>
        <p:spPr>
          <a:xfrm>
            <a:off x="3176258" y="1634187"/>
            <a:ext cx="248189" cy="123836"/>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560CD01-7FA2-4670-811D-1752B49A1748}"/>
              </a:ext>
            </a:extLst>
          </p:cNvPr>
          <p:cNvCxnSpPr>
            <a:cxnSpLocks/>
          </p:cNvCxnSpPr>
          <p:nvPr/>
        </p:nvCxnSpPr>
        <p:spPr>
          <a:xfrm>
            <a:off x="2284841" y="2607509"/>
            <a:ext cx="211027" cy="232220"/>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CBE5896-3534-47F6-BE72-AB78DFB29E1F}"/>
              </a:ext>
            </a:extLst>
          </p:cNvPr>
          <p:cNvCxnSpPr>
            <a:cxnSpLocks/>
          </p:cNvCxnSpPr>
          <p:nvPr/>
        </p:nvCxnSpPr>
        <p:spPr>
          <a:xfrm>
            <a:off x="5305320" y="2781075"/>
            <a:ext cx="357693" cy="87432"/>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0CF1B85-C0ED-46C8-B4BC-9D3994B8DBB5}"/>
              </a:ext>
            </a:extLst>
          </p:cNvPr>
          <p:cNvCxnSpPr>
            <a:cxnSpLocks/>
          </p:cNvCxnSpPr>
          <p:nvPr/>
        </p:nvCxnSpPr>
        <p:spPr>
          <a:xfrm>
            <a:off x="4504534" y="4193614"/>
            <a:ext cx="397566" cy="238539"/>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B9266A0-793E-49D7-ACAA-EB1655995373}"/>
              </a:ext>
            </a:extLst>
          </p:cNvPr>
          <p:cNvCxnSpPr>
            <a:cxnSpLocks/>
          </p:cNvCxnSpPr>
          <p:nvPr/>
        </p:nvCxnSpPr>
        <p:spPr>
          <a:xfrm>
            <a:off x="7767673" y="5692722"/>
            <a:ext cx="980660" cy="251792"/>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E7EE1BA-9668-4707-98CC-64AF7CF223F3}"/>
              </a:ext>
            </a:extLst>
          </p:cNvPr>
          <p:cNvCxnSpPr>
            <a:cxnSpLocks/>
          </p:cNvCxnSpPr>
          <p:nvPr/>
        </p:nvCxnSpPr>
        <p:spPr>
          <a:xfrm flipV="1">
            <a:off x="8075926" y="2973238"/>
            <a:ext cx="1113183" cy="92765"/>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26EB1E5-578E-4F16-ACCB-D466272B596F}"/>
              </a:ext>
            </a:extLst>
          </p:cNvPr>
          <p:cNvCxnSpPr>
            <a:cxnSpLocks/>
          </p:cNvCxnSpPr>
          <p:nvPr/>
        </p:nvCxnSpPr>
        <p:spPr>
          <a:xfrm>
            <a:off x="8380725" y="3781622"/>
            <a:ext cx="251792" cy="26503"/>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A7C659F-BBB5-4041-9EE3-D9074560A3CF}"/>
              </a:ext>
            </a:extLst>
          </p:cNvPr>
          <p:cNvCxnSpPr>
            <a:cxnSpLocks/>
          </p:cNvCxnSpPr>
          <p:nvPr/>
        </p:nvCxnSpPr>
        <p:spPr>
          <a:xfrm>
            <a:off x="8195196" y="5014074"/>
            <a:ext cx="253201" cy="54875"/>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06727FC-8580-44A7-9996-55CBCEE47C8B}"/>
              </a:ext>
            </a:extLst>
          </p:cNvPr>
          <p:cNvCxnSpPr>
            <a:cxnSpLocks/>
          </p:cNvCxnSpPr>
          <p:nvPr/>
        </p:nvCxnSpPr>
        <p:spPr>
          <a:xfrm>
            <a:off x="5073979" y="3530779"/>
            <a:ext cx="123539" cy="50876"/>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TextBox 95">
            <a:extLst>
              <a:ext uri="{FF2B5EF4-FFF2-40B4-BE49-F238E27FC236}">
                <a16:creationId xmlns:a16="http://schemas.microsoft.com/office/drawing/2014/main" id="{69FE80CB-1AE2-4C9E-9651-1FB286C407E9}"/>
              </a:ext>
            </a:extLst>
          </p:cNvPr>
          <p:cNvSpPr txBox="1"/>
          <p:nvPr/>
        </p:nvSpPr>
        <p:spPr>
          <a:xfrm>
            <a:off x="4669314" y="583080"/>
            <a:ext cx="3496470" cy="584775"/>
          </a:xfrm>
          <a:prstGeom prst="rect">
            <a:avLst/>
          </a:prstGeom>
          <a:noFill/>
        </p:spPr>
        <p:txBody>
          <a:bodyPr wrap="none" rtlCol="0">
            <a:spAutoFit/>
          </a:bodyPr>
          <a:lstStyle/>
          <a:p>
            <a:pPr algn="ctr"/>
            <a:r>
              <a:rPr lang="fr-FR" sz="3200" b="1" spc="300" dirty="0">
                <a:solidFill>
                  <a:schemeClr val="bg1"/>
                </a:solidFill>
                <a:latin typeface="Montserrat" pitchFamily="2" charset="77"/>
              </a:rPr>
              <a:t>CONCLUSION</a:t>
            </a:r>
            <a:endParaRPr lang="en-LT" sz="3200" b="1" spc="300" dirty="0">
              <a:solidFill>
                <a:schemeClr val="bg1"/>
              </a:solidFill>
              <a:latin typeface="Montserrat" pitchFamily="2" charset="77"/>
            </a:endParaRPr>
          </a:p>
        </p:txBody>
      </p:sp>
      <p:pic>
        <p:nvPicPr>
          <p:cNvPr id="47" name="Graphic 176">
            <a:extLst>
              <a:ext uri="{FF2B5EF4-FFF2-40B4-BE49-F238E27FC236}">
                <a16:creationId xmlns:a16="http://schemas.microsoft.com/office/drawing/2014/main" id="{7E80D213-30E4-4D6A-8C2F-A72B428F88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540000">
            <a:off x="4545756" y="1104154"/>
            <a:ext cx="3743581" cy="134841"/>
          </a:xfrm>
          <a:prstGeom prst="rect">
            <a:avLst/>
          </a:prstGeom>
        </p:spPr>
      </p:pic>
      <p:sp>
        <p:nvSpPr>
          <p:cNvPr id="50" name="Freeform 39">
            <a:extLst>
              <a:ext uri="{FF2B5EF4-FFF2-40B4-BE49-F238E27FC236}">
                <a16:creationId xmlns:a16="http://schemas.microsoft.com/office/drawing/2014/main" id="{DCD071A1-BB85-46E7-ADE0-94FFE5BE6127}"/>
              </a:ext>
            </a:extLst>
          </p:cNvPr>
          <p:cNvSpPr/>
          <p:nvPr/>
        </p:nvSpPr>
        <p:spPr>
          <a:xfrm>
            <a:off x="-14990" y="-5987562"/>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grpSp>
        <p:nvGrpSpPr>
          <p:cNvPr id="95" name="Group 36">
            <a:extLst>
              <a:ext uri="{FF2B5EF4-FFF2-40B4-BE49-F238E27FC236}">
                <a16:creationId xmlns:a16="http://schemas.microsoft.com/office/drawing/2014/main" id="{8D69DF16-8679-4F6C-8475-E5C77B73D40C}"/>
              </a:ext>
            </a:extLst>
          </p:cNvPr>
          <p:cNvGrpSpPr/>
          <p:nvPr/>
        </p:nvGrpSpPr>
        <p:grpSpPr>
          <a:xfrm>
            <a:off x="-816048" y="926917"/>
            <a:ext cx="827568" cy="828000"/>
            <a:chOff x="-837416" y="3015000"/>
            <a:chExt cx="827568" cy="828000"/>
          </a:xfrm>
        </p:grpSpPr>
        <p:sp>
          <p:nvSpPr>
            <p:cNvPr id="96" name="Oval 37">
              <a:extLst>
                <a:ext uri="{FF2B5EF4-FFF2-40B4-BE49-F238E27FC236}">
                  <a16:creationId xmlns:a16="http://schemas.microsoft.com/office/drawing/2014/main" id="{75982B62-7578-4B0D-85E5-06B981353181}"/>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97" name="Graphic 38">
              <a:hlinkClick r:id="rId5" action="ppaction://hlinksldjump"/>
              <a:extLst>
                <a:ext uri="{FF2B5EF4-FFF2-40B4-BE49-F238E27FC236}">
                  <a16:creationId xmlns:a16="http://schemas.microsoft.com/office/drawing/2014/main" id="{B615E5AC-7EC3-4C35-8099-765513285B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4666" y="3111959"/>
              <a:ext cx="620915" cy="620915"/>
            </a:xfrm>
            <a:prstGeom prst="rect">
              <a:avLst/>
            </a:prstGeom>
          </p:spPr>
        </p:pic>
      </p:grpSp>
      <p:pic>
        <p:nvPicPr>
          <p:cNvPr id="98" name="Graphic 42">
            <a:hlinkClick r:id="rId5" action="ppaction://hlinksldjump"/>
            <a:extLst>
              <a:ext uri="{FF2B5EF4-FFF2-40B4-BE49-F238E27FC236}">
                <a16:creationId xmlns:a16="http://schemas.microsoft.com/office/drawing/2014/main" id="{B1F8D2F4-714A-4758-B0E8-CB2077D6FD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6388" y="1039373"/>
            <a:ext cx="620915" cy="620915"/>
          </a:xfrm>
          <a:prstGeom prst="rect">
            <a:avLst/>
          </a:prstGeom>
        </p:spPr>
      </p:pic>
      <p:grpSp>
        <p:nvGrpSpPr>
          <p:cNvPr id="99" name="Group 38">
            <a:extLst>
              <a:ext uri="{FF2B5EF4-FFF2-40B4-BE49-F238E27FC236}">
                <a16:creationId xmlns:a16="http://schemas.microsoft.com/office/drawing/2014/main" id="{B0D5AAC9-8C8D-43F3-A6A2-B624EA1D0C3A}"/>
              </a:ext>
            </a:extLst>
          </p:cNvPr>
          <p:cNvGrpSpPr/>
          <p:nvPr/>
        </p:nvGrpSpPr>
        <p:grpSpPr>
          <a:xfrm>
            <a:off x="-816048" y="2242176"/>
            <a:ext cx="827568" cy="828000"/>
            <a:chOff x="-842559" y="4288420"/>
            <a:chExt cx="827568" cy="828000"/>
          </a:xfrm>
        </p:grpSpPr>
        <p:sp>
          <p:nvSpPr>
            <p:cNvPr id="100" name="Oval 39">
              <a:extLst>
                <a:ext uri="{FF2B5EF4-FFF2-40B4-BE49-F238E27FC236}">
                  <a16:creationId xmlns:a16="http://schemas.microsoft.com/office/drawing/2014/main" id="{41A5606C-0AF0-47D8-8E1D-4A4DFA925AE3}"/>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01" name="Graphic 40" descr="Single gear">
              <a:extLst>
                <a:ext uri="{FF2B5EF4-FFF2-40B4-BE49-F238E27FC236}">
                  <a16:creationId xmlns:a16="http://schemas.microsoft.com/office/drawing/2014/main" id="{F56382FA-0624-4473-BC2E-4E0FE09CA7D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0293" y="4363185"/>
              <a:ext cx="724649" cy="724649"/>
            </a:xfrm>
            <a:prstGeom prst="rect">
              <a:avLst/>
            </a:prstGeom>
          </p:spPr>
        </p:pic>
      </p:grpSp>
      <p:grpSp>
        <p:nvGrpSpPr>
          <p:cNvPr id="102" name="Group 41">
            <a:extLst>
              <a:ext uri="{FF2B5EF4-FFF2-40B4-BE49-F238E27FC236}">
                <a16:creationId xmlns:a16="http://schemas.microsoft.com/office/drawing/2014/main" id="{311C9D35-089E-4D02-833A-583A827A0CCD}"/>
              </a:ext>
            </a:extLst>
          </p:cNvPr>
          <p:cNvGrpSpPr/>
          <p:nvPr/>
        </p:nvGrpSpPr>
        <p:grpSpPr>
          <a:xfrm>
            <a:off x="-816048" y="3515595"/>
            <a:ext cx="827568" cy="828000"/>
            <a:chOff x="-842559" y="5561839"/>
            <a:chExt cx="827568" cy="828000"/>
          </a:xfrm>
        </p:grpSpPr>
        <p:sp>
          <p:nvSpPr>
            <p:cNvPr id="103" name="Oval 42">
              <a:extLst>
                <a:ext uri="{FF2B5EF4-FFF2-40B4-BE49-F238E27FC236}">
                  <a16:creationId xmlns:a16="http://schemas.microsoft.com/office/drawing/2014/main" id="{78032BF1-3280-4589-84C2-661CB654732A}"/>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04" name="Graphic 43">
              <a:hlinkClick r:id="rId12" action="ppaction://hlinksldjump"/>
              <a:extLst>
                <a:ext uri="{FF2B5EF4-FFF2-40B4-BE49-F238E27FC236}">
                  <a16:creationId xmlns:a16="http://schemas.microsoft.com/office/drawing/2014/main" id="{9DD3DD19-CA5B-4410-AD74-3397C546BD2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0909" y="5753591"/>
              <a:ext cx="534250" cy="474889"/>
            </a:xfrm>
            <a:prstGeom prst="rect">
              <a:avLst/>
            </a:prstGeom>
          </p:spPr>
        </p:pic>
      </p:grpSp>
      <p:pic>
        <p:nvPicPr>
          <p:cNvPr id="105" name="Graphic 48" descr="Single gear">
            <a:hlinkClick r:id="rId15" action="ppaction://hlinksldjump"/>
            <a:extLst>
              <a:ext uri="{FF2B5EF4-FFF2-40B4-BE49-F238E27FC236}">
                <a16:creationId xmlns:a16="http://schemas.microsoft.com/office/drawing/2014/main" id="{09D68C9A-391A-4428-9342-BB1D37BF225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267" y="2316940"/>
            <a:ext cx="724649" cy="724649"/>
          </a:xfrm>
          <a:prstGeom prst="rect">
            <a:avLst/>
          </a:prstGeom>
        </p:spPr>
      </p:pic>
      <p:pic>
        <p:nvPicPr>
          <p:cNvPr id="106" name="Graphic 49">
            <a:hlinkClick r:id="rId12" action="ppaction://hlinksldjump"/>
            <a:extLst>
              <a:ext uri="{FF2B5EF4-FFF2-40B4-BE49-F238E27FC236}">
                <a16:creationId xmlns:a16="http://schemas.microsoft.com/office/drawing/2014/main" id="{C1E401C9-1E2B-423F-B6B1-498832419B2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84514" y="3668896"/>
            <a:ext cx="577508" cy="513340"/>
          </a:xfrm>
          <a:prstGeom prst="rect">
            <a:avLst/>
          </a:prstGeom>
        </p:spPr>
      </p:pic>
      <p:grpSp>
        <p:nvGrpSpPr>
          <p:cNvPr id="111" name="Group 33">
            <a:extLst>
              <a:ext uri="{FF2B5EF4-FFF2-40B4-BE49-F238E27FC236}">
                <a16:creationId xmlns:a16="http://schemas.microsoft.com/office/drawing/2014/main" id="{AF5C1CE5-8803-41C0-AA0C-EBB3E628A8E2}"/>
              </a:ext>
            </a:extLst>
          </p:cNvPr>
          <p:cNvGrpSpPr/>
          <p:nvPr/>
        </p:nvGrpSpPr>
        <p:grpSpPr>
          <a:xfrm>
            <a:off x="-825605" y="4659627"/>
            <a:ext cx="827568" cy="828000"/>
            <a:chOff x="-842559" y="5561839"/>
            <a:chExt cx="827568" cy="828000"/>
          </a:xfrm>
        </p:grpSpPr>
        <p:sp>
          <p:nvSpPr>
            <p:cNvPr id="112" name="Oval 34">
              <a:extLst>
                <a:ext uri="{FF2B5EF4-FFF2-40B4-BE49-F238E27FC236}">
                  <a16:creationId xmlns:a16="http://schemas.microsoft.com/office/drawing/2014/main" id="{BC2CFF5A-9883-448A-AFE6-4C8986251462}"/>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13" name="Graphic 35" descr="Users">
              <a:extLst>
                <a:ext uri="{FF2B5EF4-FFF2-40B4-BE49-F238E27FC236}">
                  <a16:creationId xmlns:a16="http://schemas.microsoft.com/office/drawing/2014/main" id="{341CF196-3E37-4ACF-8368-FC51EE1D652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77564" y="5614879"/>
              <a:ext cx="721920" cy="721920"/>
            </a:xfrm>
            <a:prstGeom prst="rect">
              <a:avLst/>
            </a:prstGeom>
          </p:spPr>
        </p:pic>
      </p:grpSp>
      <p:pic>
        <p:nvPicPr>
          <p:cNvPr id="114" name="Graphic 35" descr="Users">
            <a:hlinkClick r:id="rId22" action="ppaction://hlinksldjump"/>
            <a:extLst>
              <a:ext uri="{FF2B5EF4-FFF2-40B4-BE49-F238E27FC236}">
                <a16:creationId xmlns:a16="http://schemas.microsoft.com/office/drawing/2014/main" id="{2BEA59A6-0AC4-4E50-AB01-BCBB944E36A9}"/>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05631" y="4728410"/>
            <a:ext cx="721920" cy="721920"/>
          </a:xfrm>
          <a:prstGeom prst="rect">
            <a:avLst/>
          </a:prstGeom>
        </p:spPr>
      </p:pic>
      <p:grpSp>
        <p:nvGrpSpPr>
          <p:cNvPr id="115" name="Group 33">
            <a:extLst>
              <a:ext uri="{FF2B5EF4-FFF2-40B4-BE49-F238E27FC236}">
                <a16:creationId xmlns:a16="http://schemas.microsoft.com/office/drawing/2014/main" id="{DF86D21B-8A01-4474-8A9D-8A3EF98F2858}"/>
              </a:ext>
            </a:extLst>
          </p:cNvPr>
          <p:cNvGrpSpPr/>
          <p:nvPr/>
        </p:nvGrpSpPr>
        <p:grpSpPr>
          <a:xfrm>
            <a:off x="866458" y="5561840"/>
            <a:ext cx="827568" cy="828000"/>
            <a:chOff x="-842559" y="5561839"/>
            <a:chExt cx="827568" cy="828000"/>
          </a:xfrm>
        </p:grpSpPr>
        <p:sp>
          <p:nvSpPr>
            <p:cNvPr id="116" name="Oval 34">
              <a:extLst>
                <a:ext uri="{FF2B5EF4-FFF2-40B4-BE49-F238E27FC236}">
                  <a16:creationId xmlns:a16="http://schemas.microsoft.com/office/drawing/2014/main" id="{5C0D24D2-B664-4F87-ACE1-CD68C9DB2BAE}"/>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117" name="Graphic 35">
              <a:extLst>
                <a:ext uri="{FF2B5EF4-FFF2-40B4-BE49-F238E27FC236}">
                  <a16:creationId xmlns:a16="http://schemas.microsoft.com/office/drawing/2014/main" id="{BA4CB4C4-7F1D-48C5-93D6-9E4880EC0BDA}"/>
                </a:ext>
              </a:extLst>
            </p:cNvPr>
            <p:cNvPicPr>
              <a:picLocks noChangeAspect="1"/>
            </p:cNvPicPr>
            <p:nvPr/>
          </p:nvPicPr>
          <p:blipFill>
            <a:blip r:embed="rId25"/>
            <a:stretch>
              <a:fillRect/>
            </a:stretch>
          </p:blipFill>
          <p:spPr>
            <a:xfrm>
              <a:off x="-646389" y="5728953"/>
              <a:ext cx="470339" cy="470339"/>
            </a:xfrm>
            <a:prstGeom prst="rect">
              <a:avLst/>
            </a:prstGeom>
            <a:noFill/>
          </p:spPr>
        </p:pic>
      </p:grpSp>
      <p:pic>
        <p:nvPicPr>
          <p:cNvPr id="118" name="Graphic 44" descr="Users">
            <a:hlinkClick r:id="rId22" action="ppaction://hlinksldjump"/>
            <a:extLst>
              <a:ext uri="{FF2B5EF4-FFF2-40B4-BE49-F238E27FC236}">
                <a16:creationId xmlns:a16="http://schemas.microsoft.com/office/drawing/2014/main" id="{7A77D7E4-65D4-4CE4-BC95-59929704AEE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0485" y="5614878"/>
            <a:ext cx="721920" cy="721920"/>
          </a:xfrm>
          <a:prstGeom prst="rect">
            <a:avLst/>
          </a:prstGeom>
        </p:spPr>
      </p:pic>
    </p:spTree>
    <p:extLst>
      <p:ext uri="{BB962C8B-B14F-4D97-AF65-F5344CB8AC3E}">
        <p14:creationId xmlns:p14="http://schemas.microsoft.com/office/powerpoint/2010/main" val="4187105562"/>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7</TotalTime>
  <Words>2893</Words>
  <Application>Microsoft Office PowerPoint</Application>
  <PresentationFormat>Grand écran</PresentationFormat>
  <Paragraphs>262</Paragraphs>
  <Slides>35</Slides>
  <Notes>17</Notes>
  <HiddenSlides>0</HiddenSlides>
  <MMClips>1</MMClips>
  <ScaleCrop>false</ScaleCrop>
  <HeadingPairs>
    <vt:vector size="8" baseType="variant">
      <vt:variant>
        <vt:lpstr>Polices utilisées</vt:lpstr>
      </vt:variant>
      <vt:variant>
        <vt:i4>13</vt:i4>
      </vt:variant>
      <vt:variant>
        <vt:lpstr>Thème</vt:lpstr>
      </vt:variant>
      <vt:variant>
        <vt:i4>1</vt:i4>
      </vt:variant>
      <vt:variant>
        <vt:lpstr>Serveurs OLE incorporés</vt:lpstr>
      </vt:variant>
      <vt:variant>
        <vt:i4>1</vt:i4>
      </vt:variant>
      <vt:variant>
        <vt:lpstr>Titres des diapositives</vt:lpstr>
      </vt:variant>
      <vt:variant>
        <vt:i4>35</vt:i4>
      </vt:variant>
    </vt:vector>
  </HeadingPairs>
  <TitlesOfParts>
    <vt:vector size="50" baseType="lpstr">
      <vt:lpstr>Arial</vt:lpstr>
      <vt:lpstr>Calibri</vt:lpstr>
      <vt:lpstr>Calibri Light</vt:lpstr>
      <vt:lpstr>Chewy</vt:lpstr>
      <vt:lpstr>Forte</vt:lpstr>
      <vt:lpstr>Gotham Black</vt:lpstr>
      <vt:lpstr>Hanson</vt:lpstr>
      <vt:lpstr>Michroma</vt:lpstr>
      <vt:lpstr>Montserrat</vt:lpstr>
      <vt:lpstr>Roboto</vt:lpstr>
      <vt:lpstr>Segoe UI</vt:lpstr>
      <vt:lpstr>Urbanist Black</vt:lpstr>
      <vt:lpstr>Urbanist Light</vt:lpstr>
      <vt:lpstr>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ne Skill</dc:creator>
  <cp:lastModifiedBy>Meriem Assadi</cp:lastModifiedBy>
  <cp:revision>78</cp:revision>
  <dcterms:created xsi:type="dcterms:W3CDTF">2020-07-14T16:36:24Z</dcterms:created>
  <dcterms:modified xsi:type="dcterms:W3CDTF">2023-10-22T16:55:11Z</dcterms:modified>
</cp:coreProperties>
</file>